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5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theme/themeOverride1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  <p:sldMasterId id="2147483708" r:id="rId2"/>
  </p:sldMasterIdLst>
  <p:notesMasterIdLst>
    <p:notesMasterId r:id="rId27"/>
  </p:notesMasterIdLst>
  <p:sldIdLst>
    <p:sldId id="307" r:id="rId3"/>
    <p:sldId id="308" r:id="rId4"/>
    <p:sldId id="332" r:id="rId5"/>
    <p:sldId id="258" r:id="rId6"/>
    <p:sldId id="321" r:id="rId7"/>
    <p:sldId id="301" r:id="rId8"/>
    <p:sldId id="327" r:id="rId9"/>
    <p:sldId id="275" r:id="rId10"/>
    <p:sldId id="306" r:id="rId11"/>
    <p:sldId id="328" r:id="rId12"/>
    <p:sldId id="320" r:id="rId13"/>
    <p:sldId id="330" r:id="rId14"/>
    <p:sldId id="331" r:id="rId15"/>
    <p:sldId id="333" r:id="rId16"/>
    <p:sldId id="267" r:id="rId17"/>
    <p:sldId id="335" r:id="rId18"/>
    <p:sldId id="338" r:id="rId19"/>
    <p:sldId id="339" r:id="rId20"/>
    <p:sldId id="309" r:id="rId21"/>
    <p:sldId id="322" r:id="rId22"/>
    <p:sldId id="323" r:id="rId23"/>
    <p:sldId id="329" r:id="rId24"/>
    <p:sldId id="325" r:id="rId25"/>
    <p:sldId id="318" r:id="rId26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B71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809" autoAdjust="0"/>
    <p:restoredTop sz="94434" autoAdjust="0"/>
  </p:normalViewPr>
  <p:slideViewPr>
    <p:cSldViewPr>
      <p:cViewPr varScale="1">
        <p:scale>
          <a:sx n="70" d="100"/>
          <a:sy n="70" d="100"/>
        </p:scale>
        <p:origin x="1374" y="7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-9198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notesMaster" Target="notesMasters/notesMaster1.xml"/><Relationship Id="rId30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1BA4038-8694-4208-86E4-E637D37487CE}" type="doc">
      <dgm:prSet loTypeId="urn:microsoft.com/office/officeart/2005/8/layout/radial4" loCatId="relationship" qsTypeId="urn:microsoft.com/office/officeart/2005/8/quickstyle/simple2" qsCatId="simple" csTypeId="urn:microsoft.com/office/officeart/2005/8/colors/accent2_1" csCatId="accent2" phldr="1"/>
      <dgm:spPr/>
      <dgm:t>
        <a:bodyPr/>
        <a:lstStyle/>
        <a:p>
          <a:endParaRPr lang="en-IN"/>
        </a:p>
      </dgm:t>
    </dgm:pt>
    <dgm:pt modelId="{D0C8E95D-CA20-4230-90CD-01C12FD442EB}">
      <dgm:prSet phldrT="[Text]"/>
      <dgm:spPr/>
      <dgm:t>
        <a:bodyPr/>
        <a:lstStyle/>
        <a:p>
          <a:r>
            <a:rPr lang="en-IN" dirty="0" smtClean="0"/>
            <a:t>View Flight </a:t>
          </a:r>
          <a:r>
            <a:rPr lang="en-IN" dirty="0" err="1" smtClean="0"/>
            <a:t>Occupacy</a:t>
          </a:r>
          <a:endParaRPr lang="en-IN" dirty="0"/>
        </a:p>
      </dgm:t>
    </dgm:pt>
    <dgm:pt modelId="{05DB67F3-24D5-493F-B8D6-D9EFCA9C33FA}" type="parTrans" cxnId="{D2606375-2654-4AAC-8206-793C32DCFA11}">
      <dgm:prSet/>
      <dgm:spPr/>
      <dgm:t>
        <a:bodyPr/>
        <a:lstStyle/>
        <a:p>
          <a:endParaRPr lang="en-IN"/>
        </a:p>
      </dgm:t>
    </dgm:pt>
    <dgm:pt modelId="{B8280174-6D3F-4914-BBD2-9007DA40112B}" type="sibTrans" cxnId="{D2606375-2654-4AAC-8206-793C32DCFA11}">
      <dgm:prSet/>
      <dgm:spPr/>
      <dgm:t>
        <a:bodyPr/>
        <a:lstStyle/>
        <a:p>
          <a:endParaRPr lang="en-IN"/>
        </a:p>
      </dgm:t>
    </dgm:pt>
    <dgm:pt modelId="{1519598A-C7D9-41F3-AD4D-D2A98F8597F0}">
      <dgm:prSet phldrT="[Text]"/>
      <dgm:spPr/>
      <dgm:t>
        <a:bodyPr/>
        <a:lstStyle/>
        <a:p>
          <a:endParaRPr lang="en-IN" dirty="0"/>
        </a:p>
      </dgm:t>
    </dgm:pt>
    <dgm:pt modelId="{490C96F4-303B-442C-AFC2-3E90B07DFEFA}" type="parTrans" cxnId="{C8FE8C33-F053-4F72-A679-865A20ADC25A}">
      <dgm:prSet/>
      <dgm:spPr/>
      <dgm:t>
        <a:bodyPr/>
        <a:lstStyle/>
        <a:p>
          <a:endParaRPr lang="en-US"/>
        </a:p>
      </dgm:t>
    </dgm:pt>
    <dgm:pt modelId="{F8FB0056-87E2-4E3C-A2A0-79295F437154}" type="sibTrans" cxnId="{C8FE8C33-F053-4F72-A679-865A20ADC25A}">
      <dgm:prSet/>
      <dgm:spPr/>
      <dgm:t>
        <a:bodyPr/>
        <a:lstStyle/>
        <a:p>
          <a:endParaRPr lang="en-US"/>
        </a:p>
      </dgm:t>
    </dgm:pt>
    <dgm:pt modelId="{BD9EE668-1606-4F7E-A7BD-8FEDCB65A7D4}">
      <dgm:prSet phldrT="[Text]"/>
      <dgm:spPr/>
      <dgm:t>
        <a:bodyPr/>
        <a:lstStyle/>
        <a:p>
          <a:r>
            <a:rPr lang="en-IN" dirty="0" smtClean="0"/>
            <a:t>Login</a:t>
          </a:r>
          <a:endParaRPr lang="en-IN" dirty="0"/>
        </a:p>
      </dgm:t>
    </dgm:pt>
    <dgm:pt modelId="{BA89FD41-3474-487D-9DFA-FA51387DD160}" type="sibTrans" cxnId="{129B91DD-F8BF-4D05-812B-7A4C3C234728}">
      <dgm:prSet/>
      <dgm:spPr/>
      <dgm:t>
        <a:bodyPr/>
        <a:lstStyle/>
        <a:p>
          <a:endParaRPr lang="en-IN"/>
        </a:p>
      </dgm:t>
    </dgm:pt>
    <dgm:pt modelId="{27810326-169A-46D3-BDD9-A7895E48CE8E}" type="parTrans" cxnId="{129B91DD-F8BF-4D05-812B-7A4C3C234728}">
      <dgm:prSet/>
      <dgm:spPr/>
      <dgm:t>
        <a:bodyPr/>
        <a:lstStyle/>
        <a:p>
          <a:endParaRPr lang="en-IN"/>
        </a:p>
      </dgm:t>
    </dgm:pt>
    <dgm:pt modelId="{5A7729A2-75B9-4FBC-8844-90F76B1D8C7E}">
      <dgm:prSet phldrT="[Text]"/>
      <dgm:spPr/>
      <dgm:t>
        <a:bodyPr/>
        <a:lstStyle/>
        <a:p>
          <a:r>
            <a:rPr lang="en-IN" dirty="0" smtClean="0"/>
            <a:t>Executive</a:t>
          </a:r>
          <a:endParaRPr lang="en-IN" dirty="0"/>
        </a:p>
      </dgm:t>
    </dgm:pt>
    <dgm:pt modelId="{2382FDDA-8844-48D3-9002-5F614C994BC8}" type="sibTrans" cxnId="{48D21360-7B72-4F0B-9D3F-701CF5AF51A7}">
      <dgm:prSet/>
      <dgm:spPr/>
      <dgm:t>
        <a:bodyPr/>
        <a:lstStyle/>
        <a:p>
          <a:endParaRPr lang="en-IN"/>
        </a:p>
      </dgm:t>
    </dgm:pt>
    <dgm:pt modelId="{1C2EBE9F-8DC6-42B1-B315-5D4F9A0C47A6}" type="parTrans" cxnId="{48D21360-7B72-4F0B-9D3F-701CF5AF51A7}">
      <dgm:prSet/>
      <dgm:spPr/>
      <dgm:t>
        <a:bodyPr/>
        <a:lstStyle/>
        <a:p>
          <a:endParaRPr lang="en-IN"/>
        </a:p>
      </dgm:t>
    </dgm:pt>
    <dgm:pt modelId="{F529A9FE-3A30-478D-8FB5-0EE20CF3B2CD}" type="pres">
      <dgm:prSet presAssocID="{A1BA4038-8694-4208-86E4-E637D37487CE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2A0F7F32-F42D-45CF-99FD-97CF4F1B69CF}" type="pres">
      <dgm:prSet presAssocID="{5A7729A2-75B9-4FBC-8844-90F76B1D8C7E}" presName="centerShape" presStyleLbl="node0" presStyleIdx="0" presStyleCnt="1" custScaleX="86625" custScaleY="85194" custLinFactNeighborX="16737" custLinFactNeighborY="-55162"/>
      <dgm:spPr/>
      <dgm:t>
        <a:bodyPr/>
        <a:lstStyle/>
        <a:p>
          <a:endParaRPr lang="en-US"/>
        </a:p>
      </dgm:t>
    </dgm:pt>
    <dgm:pt modelId="{6C299B1E-FF91-4041-B597-AC7D7E336DDB}" type="pres">
      <dgm:prSet presAssocID="{27810326-169A-46D3-BDD9-A7895E48CE8E}" presName="parTrans" presStyleLbl="bgSibTrans2D1" presStyleIdx="0" presStyleCnt="2" custLinFactNeighborX="-18409" custLinFactNeighborY="-70997"/>
      <dgm:spPr/>
      <dgm:t>
        <a:bodyPr/>
        <a:lstStyle/>
        <a:p>
          <a:endParaRPr lang="en-US"/>
        </a:p>
      </dgm:t>
    </dgm:pt>
    <dgm:pt modelId="{A7DF65F0-E58E-443E-9565-BE0026763C32}" type="pres">
      <dgm:prSet presAssocID="{BD9EE668-1606-4F7E-A7BD-8FEDCB65A7D4}" presName="node" presStyleLbl="node1" presStyleIdx="0" presStyleCnt="2" custRadScaleRad="36928" custRadScaleInc="4842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C821710-D8D6-44B3-AE70-1FB80AE0FF86}" type="pres">
      <dgm:prSet presAssocID="{05DB67F3-24D5-493F-B8D6-D9EFCA9C33FA}" presName="parTrans" presStyleLbl="bgSibTrans2D1" presStyleIdx="1" presStyleCnt="2" custLinFactNeighborX="11648" custLinFactNeighborY="-61931"/>
      <dgm:spPr/>
      <dgm:t>
        <a:bodyPr/>
        <a:lstStyle/>
        <a:p>
          <a:endParaRPr lang="en-US"/>
        </a:p>
      </dgm:t>
    </dgm:pt>
    <dgm:pt modelId="{3BC5D919-0D36-4BCD-8CBA-4FD7223A2EAB}" type="pres">
      <dgm:prSet presAssocID="{D0C8E95D-CA20-4230-90CD-01C12FD442EB}" presName="node" presStyleLbl="node1" presStyleIdx="1" presStyleCnt="2" custRadScaleRad="88600" custRadScaleInc="1180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5CA25F12-CF8D-4F50-8EF2-BA4DA19D12FE}" type="presOf" srcId="{BD9EE668-1606-4F7E-A7BD-8FEDCB65A7D4}" destId="{A7DF65F0-E58E-443E-9565-BE0026763C32}" srcOrd="0" destOrd="0" presId="urn:microsoft.com/office/officeart/2005/8/layout/radial4"/>
    <dgm:cxn modelId="{4FBE72A9-F605-42C4-961F-1DB19EC3BAD0}" type="presOf" srcId="{D0C8E95D-CA20-4230-90CD-01C12FD442EB}" destId="{3BC5D919-0D36-4BCD-8CBA-4FD7223A2EAB}" srcOrd="0" destOrd="0" presId="urn:microsoft.com/office/officeart/2005/8/layout/radial4"/>
    <dgm:cxn modelId="{8EC22962-EC8F-4928-B2AA-2734628AFE8D}" type="presOf" srcId="{05DB67F3-24D5-493F-B8D6-D9EFCA9C33FA}" destId="{BC821710-D8D6-44B3-AE70-1FB80AE0FF86}" srcOrd="0" destOrd="0" presId="urn:microsoft.com/office/officeart/2005/8/layout/radial4"/>
    <dgm:cxn modelId="{B9A49402-5DEF-4DEC-893D-298D171DDD76}" type="presOf" srcId="{27810326-169A-46D3-BDD9-A7895E48CE8E}" destId="{6C299B1E-FF91-4041-B597-AC7D7E336DDB}" srcOrd="0" destOrd="0" presId="urn:microsoft.com/office/officeart/2005/8/layout/radial4"/>
    <dgm:cxn modelId="{C8FE8C33-F053-4F72-A679-865A20ADC25A}" srcId="{A1BA4038-8694-4208-86E4-E637D37487CE}" destId="{1519598A-C7D9-41F3-AD4D-D2A98F8597F0}" srcOrd="1" destOrd="0" parTransId="{490C96F4-303B-442C-AFC2-3E90B07DFEFA}" sibTransId="{F8FB0056-87E2-4E3C-A2A0-79295F437154}"/>
    <dgm:cxn modelId="{D2606375-2654-4AAC-8206-793C32DCFA11}" srcId="{5A7729A2-75B9-4FBC-8844-90F76B1D8C7E}" destId="{D0C8E95D-CA20-4230-90CD-01C12FD442EB}" srcOrd="1" destOrd="0" parTransId="{05DB67F3-24D5-493F-B8D6-D9EFCA9C33FA}" sibTransId="{B8280174-6D3F-4914-BBD2-9007DA40112B}"/>
    <dgm:cxn modelId="{129B91DD-F8BF-4D05-812B-7A4C3C234728}" srcId="{5A7729A2-75B9-4FBC-8844-90F76B1D8C7E}" destId="{BD9EE668-1606-4F7E-A7BD-8FEDCB65A7D4}" srcOrd="0" destOrd="0" parTransId="{27810326-169A-46D3-BDD9-A7895E48CE8E}" sibTransId="{BA89FD41-3474-487D-9DFA-FA51387DD160}"/>
    <dgm:cxn modelId="{48D21360-7B72-4F0B-9D3F-701CF5AF51A7}" srcId="{A1BA4038-8694-4208-86E4-E637D37487CE}" destId="{5A7729A2-75B9-4FBC-8844-90F76B1D8C7E}" srcOrd="0" destOrd="0" parTransId="{1C2EBE9F-8DC6-42B1-B315-5D4F9A0C47A6}" sibTransId="{2382FDDA-8844-48D3-9002-5F614C994BC8}"/>
    <dgm:cxn modelId="{0048E817-F188-4456-A22D-C9FB59D3F8BD}" type="presOf" srcId="{A1BA4038-8694-4208-86E4-E637D37487CE}" destId="{F529A9FE-3A30-478D-8FB5-0EE20CF3B2CD}" srcOrd="0" destOrd="0" presId="urn:microsoft.com/office/officeart/2005/8/layout/radial4"/>
    <dgm:cxn modelId="{41F88A75-6E9E-4FDE-96F1-CBCB7D3029DF}" type="presOf" srcId="{5A7729A2-75B9-4FBC-8844-90F76B1D8C7E}" destId="{2A0F7F32-F42D-45CF-99FD-97CF4F1B69CF}" srcOrd="0" destOrd="0" presId="urn:microsoft.com/office/officeart/2005/8/layout/radial4"/>
    <dgm:cxn modelId="{DF99038D-AFC5-4BC8-8936-25587AE0C7F4}" type="presParOf" srcId="{F529A9FE-3A30-478D-8FB5-0EE20CF3B2CD}" destId="{2A0F7F32-F42D-45CF-99FD-97CF4F1B69CF}" srcOrd="0" destOrd="0" presId="urn:microsoft.com/office/officeart/2005/8/layout/radial4"/>
    <dgm:cxn modelId="{1BC62BC5-61DC-4AA2-8E02-E8E32C6C8CFD}" type="presParOf" srcId="{F529A9FE-3A30-478D-8FB5-0EE20CF3B2CD}" destId="{6C299B1E-FF91-4041-B597-AC7D7E336DDB}" srcOrd="1" destOrd="0" presId="urn:microsoft.com/office/officeart/2005/8/layout/radial4"/>
    <dgm:cxn modelId="{287A91C8-FDB0-4526-AE67-1A7792023EEB}" type="presParOf" srcId="{F529A9FE-3A30-478D-8FB5-0EE20CF3B2CD}" destId="{A7DF65F0-E58E-443E-9565-BE0026763C32}" srcOrd="2" destOrd="0" presId="urn:microsoft.com/office/officeart/2005/8/layout/radial4"/>
    <dgm:cxn modelId="{497FDD99-2DA6-48C4-BB00-6A4E84AE4860}" type="presParOf" srcId="{F529A9FE-3A30-478D-8FB5-0EE20CF3B2CD}" destId="{BC821710-D8D6-44B3-AE70-1FB80AE0FF86}" srcOrd="3" destOrd="0" presId="urn:microsoft.com/office/officeart/2005/8/layout/radial4"/>
    <dgm:cxn modelId="{D603F3DF-AFC1-4592-8D31-354EC6D1B5CD}" type="presParOf" srcId="{F529A9FE-3A30-478D-8FB5-0EE20CF3B2CD}" destId="{3BC5D919-0D36-4BCD-8CBA-4FD7223A2EAB}" srcOrd="4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Explicit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User specified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LinFactNeighborY="570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93DE3352-3A78-4F94-B7CD-E5428B54C622}" type="presOf" srcId="{528F3EA0-FF05-41BA-8D3E-F7B5C76FE089}" destId="{1C2747ED-0D77-4E6D-821C-76CAEE910644}" srcOrd="0" destOrd="0" presId="urn:microsoft.com/office/officeart/2005/8/layout/vList2"/>
    <dgm:cxn modelId="{5D187D98-C299-4CFF-A327-98F7DEFF663F}" type="presOf" srcId="{0BD08EE0-BF9E-4795-9B77-0FBE4D9C3FAA}" destId="{E5C0A0C3-950D-4232-9872-9174C1E989AA}" srcOrd="0" destOrd="0" presId="urn:microsoft.com/office/officeart/2005/8/layout/vList2"/>
    <dgm:cxn modelId="{989FF4FB-799B-419D-8CA7-AE2BCA3EBC3D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1C74F28F-429D-4DC9-994E-CA461B22EF4E}" type="presParOf" srcId="{B9ED2192-F917-4BE7-A6BE-813D7F382554}" destId="{1C2747ED-0D77-4E6D-821C-76CAEE910644}" srcOrd="0" destOrd="0" presId="urn:microsoft.com/office/officeart/2005/8/layout/vList2"/>
    <dgm:cxn modelId="{40841C3C-7DC5-46E1-AE9D-9AA2BD0FC5CA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42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Security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For confidentiality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79055" custLinFactNeighborX="4000" custLinFactNeighborY="-39740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 custLinFactNeighborX="4000" custLinFactNeighborY="796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D91ABFB9-D9AF-44F4-9935-7A81B3CC4E9C}" type="presOf" srcId="{528F3EA0-FF05-41BA-8D3E-F7B5C76FE089}" destId="{1C2747ED-0D77-4E6D-821C-76CAEE910644}" srcOrd="0" destOrd="0" presId="urn:microsoft.com/office/officeart/2005/8/layout/vList2"/>
    <dgm:cxn modelId="{8D05B5A3-A52C-49CB-AC47-34D28D202284}" type="presOf" srcId="{0BD08EE0-BF9E-4795-9B77-0FBE4D9C3FAA}" destId="{E5C0A0C3-950D-4232-9872-9174C1E989AA}" srcOrd="0" destOrd="0" presId="urn:microsoft.com/office/officeart/2005/8/layout/vList2"/>
    <dgm:cxn modelId="{EDE97C2A-6470-4F1C-8DD5-243907CC22C2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DD5C37A0-6566-4DA6-86DA-8A0BF9459D27}" type="presParOf" srcId="{B9ED2192-F917-4BE7-A6BE-813D7F382554}" destId="{1C2747ED-0D77-4E6D-821C-76CAEE910644}" srcOrd="0" destOrd="0" presId="urn:microsoft.com/office/officeart/2005/8/layout/vList2"/>
    <dgm:cxn modelId="{8D7F3F70-13CF-4027-87B8-81E9C4D3BC53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4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1BA4038-8694-4208-86E4-E637D37487CE}" type="doc">
      <dgm:prSet loTypeId="urn:microsoft.com/office/officeart/2005/8/layout/radial4" loCatId="relationship" qsTypeId="urn:microsoft.com/office/officeart/2005/8/quickstyle/simple2" qsCatId="simple" csTypeId="urn:microsoft.com/office/officeart/2005/8/colors/accent2_1" csCatId="accent2" phldr="1"/>
      <dgm:spPr/>
      <dgm:t>
        <a:bodyPr/>
        <a:lstStyle/>
        <a:p>
          <a:endParaRPr lang="en-IN"/>
        </a:p>
      </dgm:t>
    </dgm:pt>
    <dgm:pt modelId="{5A7729A2-75B9-4FBC-8844-90F76B1D8C7E}">
      <dgm:prSet phldrT="[Text]"/>
      <dgm:spPr/>
      <dgm:t>
        <a:bodyPr/>
        <a:lstStyle/>
        <a:p>
          <a:r>
            <a:rPr lang="en-IN" smtClean="0"/>
            <a:t>Admin</a:t>
          </a:r>
          <a:endParaRPr lang="en-IN" dirty="0"/>
        </a:p>
      </dgm:t>
    </dgm:pt>
    <dgm:pt modelId="{1C2EBE9F-8DC6-42B1-B315-5D4F9A0C47A6}" type="parTrans" cxnId="{48D21360-7B72-4F0B-9D3F-701CF5AF51A7}">
      <dgm:prSet/>
      <dgm:spPr/>
      <dgm:t>
        <a:bodyPr/>
        <a:lstStyle/>
        <a:p>
          <a:endParaRPr lang="en-IN"/>
        </a:p>
      </dgm:t>
    </dgm:pt>
    <dgm:pt modelId="{2382FDDA-8844-48D3-9002-5F614C994BC8}" type="sibTrans" cxnId="{48D21360-7B72-4F0B-9D3F-701CF5AF51A7}">
      <dgm:prSet/>
      <dgm:spPr/>
      <dgm:t>
        <a:bodyPr/>
        <a:lstStyle/>
        <a:p>
          <a:endParaRPr lang="en-IN"/>
        </a:p>
      </dgm:t>
    </dgm:pt>
    <dgm:pt modelId="{C84695D3-AE9A-4501-A621-669274CEC8DD}">
      <dgm:prSet phldrT="[Text]"/>
      <dgm:spPr/>
      <dgm:t>
        <a:bodyPr/>
        <a:lstStyle/>
        <a:p>
          <a:endParaRPr lang="en-IN" dirty="0"/>
        </a:p>
      </dgm:t>
    </dgm:pt>
    <dgm:pt modelId="{D9E2EB92-0DA5-4648-A69C-26B82C1D0905}" type="parTrans" cxnId="{72E41019-23BD-42FC-BD37-03E9662C2428}">
      <dgm:prSet/>
      <dgm:spPr/>
      <dgm:t>
        <a:bodyPr/>
        <a:lstStyle/>
        <a:p>
          <a:endParaRPr lang="en-IN"/>
        </a:p>
      </dgm:t>
    </dgm:pt>
    <dgm:pt modelId="{75687ADF-CBCC-429E-B8E9-43F016C33414}" type="sibTrans" cxnId="{72E41019-23BD-42FC-BD37-03E9662C2428}">
      <dgm:prSet/>
      <dgm:spPr/>
      <dgm:t>
        <a:bodyPr/>
        <a:lstStyle/>
        <a:p>
          <a:endParaRPr lang="en-IN"/>
        </a:p>
      </dgm:t>
    </dgm:pt>
    <dgm:pt modelId="{1519598A-C7D9-41F3-AD4D-D2A98F8597F0}">
      <dgm:prSet phldrT="[Text]"/>
      <dgm:spPr/>
      <dgm:t>
        <a:bodyPr/>
        <a:lstStyle/>
        <a:p>
          <a:endParaRPr lang="en-IN" dirty="0"/>
        </a:p>
      </dgm:t>
    </dgm:pt>
    <dgm:pt modelId="{490C96F4-303B-442C-AFC2-3E90B07DFEFA}" type="parTrans" cxnId="{C8FE8C33-F053-4F72-A679-865A20ADC25A}">
      <dgm:prSet/>
      <dgm:spPr/>
      <dgm:t>
        <a:bodyPr/>
        <a:lstStyle/>
        <a:p>
          <a:endParaRPr lang="en-US"/>
        </a:p>
      </dgm:t>
    </dgm:pt>
    <dgm:pt modelId="{F8FB0056-87E2-4E3C-A2A0-79295F437154}" type="sibTrans" cxnId="{C8FE8C33-F053-4F72-A679-865A20ADC25A}">
      <dgm:prSet/>
      <dgm:spPr/>
      <dgm:t>
        <a:bodyPr/>
        <a:lstStyle/>
        <a:p>
          <a:endParaRPr lang="en-US"/>
        </a:p>
      </dgm:t>
    </dgm:pt>
    <dgm:pt modelId="{5EE888C5-C142-4F81-927B-B90721C1F3E4}">
      <dgm:prSet phldrT="[Text]"/>
      <dgm:spPr/>
      <dgm:t>
        <a:bodyPr/>
        <a:lstStyle/>
        <a:p>
          <a:endParaRPr lang="en-IN" dirty="0"/>
        </a:p>
      </dgm:t>
    </dgm:pt>
    <dgm:pt modelId="{D363C5A8-91EB-4D75-8DC9-29E46A5D4A7F}" type="parTrans" cxnId="{E03982C5-3BDB-497A-BCA3-2DC08723031D}">
      <dgm:prSet/>
      <dgm:spPr/>
      <dgm:t>
        <a:bodyPr/>
        <a:lstStyle/>
        <a:p>
          <a:endParaRPr lang="en-US"/>
        </a:p>
      </dgm:t>
    </dgm:pt>
    <dgm:pt modelId="{0DA8AB2B-BB27-4A16-BCAC-A04684A9C39F}" type="sibTrans" cxnId="{E03982C5-3BDB-497A-BCA3-2DC08723031D}">
      <dgm:prSet/>
      <dgm:spPr/>
      <dgm:t>
        <a:bodyPr/>
        <a:lstStyle/>
        <a:p>
          <a:endParaRPr lang="en-US"/>
        </a:p>
      </dgm:t>
    </dgm:pt>
    <dgm:pt modelId="{4A65D6FC-49F2-40E3-A195-40F2060B3133}">
      <dgm:prSet phldrT="[Text]"/>
      <dgm:spPr/>
      <dgm:t>
        <a:bodyPr/>
        <a:lstStyle/>
        <a:p>
          <a:r>
            <a:rPr lang="en-IN" dirty="0" smtClean="0"/>
            <a:t>View Booking Info</a:t>
          </a:r>
          <a:endParaRPr lang="en-IN" dirty="0"/>
        </a:p>
      </dgm:t>
    </dgm:pt>
    <dgm:pt modelId="{DEE236A8-22D3-46B7-85E3-1D55737D7EAC}" type="parTrans" cxnId="{00FB2451-8D6D-4C08-8E49-8A9DD2AD8075}">
      <dgm:prSet/>
      <dgm:spPr/>
      <dgm:t>
        <a:bodyPr/>
        <a:lstStyle/>
        <a:p>
          <a:endParaRPr lang="en-US"/>
        </a:p>
      </dgm:t>
    </dgm:pt>
    <dgm:pt modelId="{9260490D-36EF-4883-9844-B2A57268B27C}" type="sibTrans" cxnId="{00FB2451-8D6D-4C08-8E49-8A9DD2AD8075}">
      <dgm:prSet/>
      <dgm:spPr/>
      <dgm:t>
        <a:bodyPr/>
        <a:lstStyle/>
        <a:p>
          <a:endParaRPr lang="en-US"/>
        </a:p>
      </dgm:t>
    </dgm:pt>
    <dgm:pt modelId="{BD9EE668-1606-4F7E-A7BD-8FEDCB65A7D4}">
      <dgm:prSet phldrT="[Text]" custT="1"/>
      <dgm:spPr/>
      <dgm:t>
        <a:bodyPr/>
        <a:lstStyle/>
        <a:p>
          <a:r>
            <a:rPr lang="en-IN" sz="1600" dirty="0" smtClean="0"/>
            <a:t>Login</a:t>
          </a:r>
          <a:endParaRPr lang="en-IN" sz="1600" dirty="0"/>
        </a:p>
      </dgm:t>
    </dgm:pt>
    <dgm:pt modelId="{BA89FD41-3474-487D-9DFA-FA51387DD160}" type="sibTrans" cxnId="{129B91DD-F8BF-4D05-812B-7A4C3C234728}">
      <dgm:prSet/>
      <dgm:spPr/>
      <dgm:t>
        <a:bodyPr/>
        <a:lstStyle/>
        <a:p>
          <a:endParaRPr lang="en-IN"/>
        </a:p>
      </dgm:t>
    </dgm:pt>
    <dgm:pt modelId="{27810326-169A-46D3-BDD9-A7895E48CE8E}" type="parTrans" cxnId="{129B91DD-F8BF-4D05-812B-7A4C3C234728}">
      <dgm:prSet/>
      <dgm:spPr/>
      <dgm:t>
        <a:bodyPr/>
        <a:lstStyle/>
        <a:p>
          <a:endParaRPr lang="en-IN"/>
        </a:p>
      </dgm:t>
    </dgm:pt>
    <dgm:pt modelId="{D0C8E95D-CA20-4230-90CD-01C12FD442EB}">
      <dgm:prSet phldrT="[Text]"/>
      <dgm:spPr/>
      <dgm:t>
        <a:bodyPr/>
        <a:lstStyle/>
        <a:p>
          <a:r>
            <a:rPr lang="en-IN" dirty="0" smtClean="0"/>
            <a:t>Update Flight Info</a:t>
          </a:r>
          <a:endParaRPr lang="en-IN" dirty="0"/>
        </a:p>
      </dgm:t>
    </dgm:pt>
    <dgm:pt modelId="{B8280174-6D3F-4914-BBD2-9007DA40112B}" type="sibTrans" cxnId="{D2606375-2654-4AAC-8206-793C32DCFA11}">
      <dgm:prSet/>
      <dgm:spPr/>
      <dgm:t>
        <a:bodyPr/>
        <a:lstStyle/>
        <a:p>
          <a:endParaRPr lang="en-IN"/>
        </a:p>
      </dgm:t>
    </dgm:pt>
    <dgm:pt modelId="{05DB67F3-24D5-493F-B8D6-D9EFCA9C33FA}" type="parTrans" cxnId="{D2606375-2654-4AAC-8206-793C32DCFA11}">
      <dgm:prSet/>
      <dgm:spPr/>
      <dgm:t>
        <a:bodyPr/>
        <a:lstStyle/>
        <a:p>
          <a:endParaRPr lang="en-IN"/>
        </a:p>
      </dgm:t>
    </dgm:pt>
    <dgm:pt modelId="{F529A9FE-3A30-478D-8FB5-0EE20CF3B2CD}" type="pres">
      <dgm:prSet presAssocID="{A1BA4038-8694-4208-86E4-E637D37487CE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2A0F7F32-F42D-45CF-99FD-97CF4F1B69CF}" type="pres">
      <dgm:prSet presAssocID="{5A7729A2-75B9-4FBC-8844-90F76B1D8C7E}" presName="centerShape" presStyleLbl="node0" presStyleIdx="0" presStyleCnt="1" custAng="0" custScaleY="117443" custLinFactNeighborX="-18354" custLinFactNeighborY="-31182"/>
      <dgm:spPr/>
      <dgm:t>
        <a:bodyPr/>
        <a:lstStyle/>
        <a:p>
          <a:endParaRPr lang="en-US"/>
        </a:p>
      </dgm:t>
    </dgm:pt>
    <dgm:pt modelId="{6C299B1E-FF91-4041-B597-AC7D7E336DDB}" type="pres">
      <dgm:prSet presAssocID="{27810326-169A-46D3-BDD9-A7895E48CE8E}" presName="parTrans" presStyleLbl="bgSibTrans2D1" presStyleIdx="0" presStyleCnt="3" custLinFactY="-12250" custLinFactNeighborX="-27972" custLinFactNeighborY="-100000"/>
      <dgm:spPr/>
      <dgm:t>
        <a:bodyPr/>
        <a:lstStyle/>
        <a:p>
          <a:endParaRPr lang="en-US"/>
        </a:p>
      </dgm:t>
    </dgm:pt>
    <dgm:pt modelId="{A7DF65F0-E58E-443E-9565-BE0026763C32}" type="pres">
      <dgm:prSet presAssocID="{BD9EE668-1606-4F7E-A7BD-8FEDCB65A7D4}" presName="node" presStyleLbl="node1" presStyleIdx="0" presStyleCnt="3" custRadScaleRad="104263" custRadScaleInc="-5064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C821710-D8D6-44B3-AE70-1FB80AE0FF86}" type="pres">
      <dgm:prSet presAssocID="{05DB67F3-24D5-493F-B8D6-D9EFCA9C33FA}" presName="parTrans" presStyleLbl="bgSibTrans2D1" presStyleIdx="1" presStyleCnt="3" custLinFactNeighborX="28565" custLinFactNeighborY="-96618"/>
      <dgm:spPr/>
      <dgm:t>
        <a:bodyPr/>
        <a:lstStyle/>
        <a:p>
          <a:endParaRPr lang="en-US"/>
        </a:p>
      </dgm:t>
    </dgm:pt>
    <dgm:pt modelId="{3BC5D919-0D36-4BCD-8CBA-4FD7223A2EAB}" type="pres">
      <dgm:prSet presAssocID="{D0C8E95D-CA20-4230-90CD-01C12FD442EB}" presName="node" presStyleLbl="node1" presStyleIdx="1" presStyleCnt="3" custAng="0" custScaleX="102489" custScaleY="125956" custRadScaleRad="30579" custRadScaleInc="108643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BEF28934-C9BE-4F77-95DB-7A66C3E1E6C5}" type="pres">
      <dgm:prSet presAssocID="{DEE236A8-22D3-46B7-85E3-1D55737D7EAC}" presName="parTrans" presStyleLbl="bgSibTrans2D1" presStyleIdx="2" presStyleCnt="3"/>
      <dgm:spPr/>
      <dgm:t>
        <a:bodyPr/>
        <a:lstStyle/>
        <a:p>
          <a:endParaRPr lang="en-US"/>
        </a:p>
      </dgm:t>
    </dgm:pt>
    <dgm:pt modelId="{2E2D2430-8F1E-4B44-8B5F-D8073D60BC15}" type="pres">
      <dgm:prSet presAssocID="{4A65D6FC-49F2-40E3-A195-40F2060B3133}" presName="node" presStyleLbl="node1" presStyleIdx="2" presStyleCnt="3" custAng="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FAC997D2-0AE4-4BF3-BE1A-2F85633313DB}" type="presOf" srcId="{D0C8E95D-CA20-4230-90CD-01C12FD442EB}" destId="{3BC5D919-0D36-4BCD-8CBA-4FD7223A2EAB}" srcOrd="0" destOrd="0" presId="urn:microsoft.com/office/officeart/2005/8/layout/radial4"/>
    <dgm:cxn modelId="{C8FE8C33-F053-4F72-A679-865A20ADC25A}" srcId="{C84695D3-AE9A-4501-A621-669274CEC8DD}" destId="{1519598A-C7D9-41F3-AD4D-D2A98F8597F0}" srcOrd="1" destOrd="0" parTransId="{490C96F4-303B-442C-AFC2-3E90B07DFEFA}" sibTransId="{F8FB0056-87E2-4E3C-A2A0-79295F437154}"/>
    <dgm:cxn modelId="{7D7BFA6D-DDDE-4DC6-B450-BD1EF9D01C09}" type="presOf" srcId="{27810326-169A-46D3-BDD9-A7895E48CE8E}" destId="{6C299B1E-FF91-4041-B597-AC7D7E336DDB}" srcOrd="0" destOrd="0" presId="urn:microsoft.com/office/officeart/2005/8/layout/radial4"/>
    <dgm:cxn modelId="{E03982C5-3BDB-497A-BCA3-2DC08723031D}" srcId="{C84695D3-AE9A-4501-A621-669274CEC8DD}" destId="{5EE888C5-C142-4F81-927B-B90721C1F3E4}" srcOrd="0" destOrd="0" parTransId="{D363C5A8-91EB-4D75-8DC9-29E46A5D4A7F}" sibTransId="{0DA8AB2B-BB27-4A16-BCAC-A04684A9C39F}"/>
    <dgm:cxn modelId="{C4B3E21E-5FEE-43E4-902D-553A911BC2F9}" type="presOf" srcId="{BD9EE668-1606-4F7E-A7BD-8FEDCB65A7D4}" destId="{A7DF65F0-E58E-443E-9565-BE0026763C32}" srcOrd="0" destOrd="0" presId="urn:microsoft.com/office/officeart/2005/8/layout/radial4"/>
    <dgm:cxn modelId="{129B91DD-F8BF-4D05-812B-7A4C3C234728}" srcId="{5A7729A2-75B9-4FBC-8844-90F76B1D8C7E}" destId="{BD9EE668-1606-4F7E-A7BD-8FEDCB65A7D4}" srcOrd="0" destOrd="0" parTransId="{27810326-169A-46D3-BDD9-A7895E48CE8E}" sibTransId="{BA89FD41-3474-487D-9DFA-FA51387DD160}"/>
    <dgm:cxn modelId="{48D21360-7B72-4F0B-9D3F-701CF5AF51A7}" srcId="{A1BA4038-8694-4208-86E4-E637D37487CE}" destId="{5A7729A2-75B9-4FBC-8844-90F76B1D8C7E}" srcOrd="0" destOrd="0" parTransId="{1C2EBE9F-8DC6-42B1-B315-5D4F9A0C47A6}" sibTransId="{2382FDDA-8844-48D3-9002-5F614C994BC8}"/>
    <dgm:cxn modelId="{00FB2451-8D6D-4C08-8E49-8A9DD2AD8075}" srcId="{5A7729A2-75B9-4FBC-8844-90F76B1D8C7E}" destId="{4A65D6FC-49F2-40E3-A195-40F2060B3133}" srcOrd="2" destOrd="0" parTransId="{DEE236A8-22D3-46B7-85E3-1D55737D7EAC}" sibTransId="{9260490D-36EF-4883-9844-B2A57268B27C}"/>
    <dgm:cxn modelId="{B03959B4-D221-48EC-8135-B181ADEA8E24}" type="presOf" srcId="{05DB67F3-24D5-493F-B8D6-D9EFCA9C33FA}" destId="{BC821710-D8D6-44B3-AE70-1FB80AE0FF86}" srcOrd="0" destOrd="0" presId="urn:microsoft.com/office/officeart/2005/8/layout/radial4"/>
    <dgm:cxn modelId="{F20DC8F8-4347-4F32-8E95-3321100F6BE5}" type="presOf" srcId="{DEE236A8-22D3-46B7-85E3-1D55737D7EAC}" destId="{BEF28934-C9BE-4F77-95DB-7A66C3E1E6C5}" srcOrd="0" destOrd="0" presId="urn:microsoft.com/office/officeart/2005/8/layout/radial4"/>
    <dgm:cxn modelId="{D7A00227-9B3F-49AC-81DD-29A29C404456}" type="presOf" srcId="{4A65D6FC-49F2-40E3-A195-40F2060B3133}" destId="{2E2D2430-8F1E-4B44-8B5F-D8073D60BC15}" srcOrd="0" destOrd="0" presId="urn:microsoft.com/office/officeart/2005/8/layout/radial4"/>
    <dgm:cxn modelId="{56CB5D0A-DDF0-43C7-B907-75348E15C33F}" type="presOf" srcId="{A1BA4038-8694-4208-86E4-E637D37487CE}" destId="{F529A9FE-3A30-478D-8FB5-0EE20CF3B2CD}" srcOrd="0" destOrd="0" presId="urn:microsoft.com/office/officeart/2005/8/layout/radial4"/>
    <dgm:cxn modelId="{72E41019-23BD-42FC-BD37-03E9662C2428}" srcId="{A1BA4038-8694-4208-86E4-E637D37487CE}" destId="{C84695D3-AE9A-4501-A621-669274CEC8DD}" srcOrd="1" destOrd="0" parTransId="{D9E2EB92-0DA5-4648-A69C-26B82C1D0905}" sibTransId="{75687ADF-CBCC-429E-B8E9-43F016C33414}"/>
    <dgm:cxn modelId="{A20CEBA4-47ED-4952-996B-8BBB7A8F557D}" type="presOf" srcId="{5A7729A2-75B9-4FBC-8844-90F76B1D8C7E}" destId="{2A0F7F32-F42D-45CF-99FD-97CF4F1B69CF}" srcOrd="0" destOrd="0" presId="urn:microsoft.com/office/officeart/2005/8/layout/radial4"/>
    <dgm:cxn modelId="{D2606375-2654-4AAC-8206-793C32DCFA11}" srcId="{5A7729A2-75B9-4FBC-8844-90F76B1D8C7E}" destId="{D0C8E95D-CA20-4230-90CD-01C12FD442EB}" srcOrd="1" destOrd="0" parTransId="{05DB67F3-24D5-493F-B8D6-D9EFCA9C33FA}" sibTransId="{B8280174-6D3F-4914-BBD2-9007DA40112B}"/>
    <dgm:cxn modelId="{BDFD953B-F1F8-402C-BC56-F5A463F85F4C}" type="presParOf" srcId="{F529A9FE-3A30-478D-8FB5-0EE20CF3B2CD}" destId="{2A0F7F32-F42D-45CF-99FD-97CF4F1B69CF}" srcOrd="0" destOrd="0" presId="urn:microsoft.com/office/officeart/2005/8/layout/radial4"/>
    <dgm:cxn modelId="{29270453-7B26-4D26-BBD6-4F5D36552D66}" type="presParOf" srcId="{F529A9FE-3A30-478D-8FB5-0EE20CF3B2CD}" destId="{6C299B1E-FF91-4041-B597-AC7D7E336DDB}" srcOrd="1" destOrd="0" presId="urn:microsoft.com/office/officeart/2005/8/layout/radial4"/>
    <dgm:cxn modelId="{124E0C94-5A10-4FCB-85DC-6BE67E465D47}" type="presParOf" srcId="{F529A9FE-3A30-478D-8FB5-0EE20CF3B2CD}" destId="{A7DF65F0-E58E-443E-9565-BE0026763C32}" srcOrd="2" destOrd="0" presId="urn:microsoft.com/office/officeart/2005/8/layout/radial4"/>
    <dgm:cxn modelId="{EC02CC26-1EF0-4CE5-B96A-22527EA49E88}" type="presParOf" srcId="{F529A9FE-3A30-478D-8FB5-0EE20CF3B2CD}" destId="{BC821710-D8D6-44B3-AE70-1FB80AE0FF86}" srcOrd="3" destOrd="0" presId="urn:microsoft.com/office/officeart/2005/8/layout/radial4"/>
    <dgm:cxn modelId="{2E6B6192-DA31-4917-91B7-1654151A662C}" type="presParOf" srcId="{F529A9FE-3A30-478D-8FB5-0EE20CF3B2CD}" destId="{3BC5D919-0D36-4BCD-8CBA-4FD7223A2EAB}" srcOrd="4" destOrd="0" presId="urn:microsoft.com/office/officeart/2005/8/layout/radial4"/>
    <dgm:cxn modelId="{C4F6B3D9-12DF-4A39-93A4-F9B726F353E6}" type="presParOf" srcId="{F529A9FE-3A30-478D-8FB5-0EE20CF3B2CD}" destId="{BEF28934-C9BE-4F77-95DB-7A66C3E1E6C5}" srcOrd="5" destOrd="0" presId="urn:microsoft.com/office/officeart/2005/8/layout/radial4"/>
    <dgm:cxn modelId="{328089E2-03CD-4117-AB82-1A6D19D1414A}" type="presParOf" srcId="{F529A9FE-3A30-478D-8FB5-0EE20CF3B2CD}" destId="{2E2D2430-8F1E-4B44-8B5F-D8073D60BC15}" srcOrd="6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File Handling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Storage of information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108756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B8432A1A-823A-425F-8772-7205F288A978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4E4910E4-E4C4-4FBB-8292-909BEB45174B}" type="presOf" srcId="{528F3EA0-FF05-41BA-8D3E-F7B5C76FE089}" destId="{1C2747ED-0D77-4E6D-821C-76CAEE910644}" srcOrd="0" destOrd="0" presId="urn:microsoft.com/office/officeart/2005/8/layout/vList2"/>
    <dgm:cxn modelId="{B5830F3E-BC9E-4115-966C-5BF894773023}" type="presOf" srcId="{0BD08EE0-BF9E-4795-9B77-0FBE4D9C3FAA}" destId="{E5C0A0C3-950D-4232-9872-9174C1E989AA}" srcOrd="0" destOrd="0" presId="urn:microsoft.com/office/officeart/2005/8/layout/vList2"/>
    <dgm:cxn modelId="{0B4E18BF-9764-4F1D-8E6D-CFBF87DC49E1}" type="presParOf" srcId="{B9ED2192-F917-4BE7-A6BE-813D7F382554}" destId="{1C2747ED-0D77-4E6D-821C-76CAEE910644}" srcOrd="0" destOrd="0" presId="urn:microsoft.com/office/officeart/2005/8/layout/vList2"/>
    <dgm:cxn modelId="{89BB07B3-BC0A-43D5-A358-2370E51CB9C3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Query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improvements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62803" custLinFactNeighborY="-13803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AD8AE850-DE88-47D4-8A3E-CDFEE2141164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09F4A44D-A880-4E47-AE17-530D40517CCB}" type="presOf" srcId="{528F3EA0-FF05-41BA-8D3E-F7B5C76FE089}" destId="{1C2747ED-0D77-4E6D-821C-76CAEE910644}" srcOrd="0" destOrd="0" presId="urn:microsoft.com/office/officeart/2005/8/layout/vList2"/>
    <dgm:cxn modelId="{A806F339-42D6-488F-B73B-C32784387D9E}" type="presOf" srcId="{0BD08EE0-BF9E-4795-9B77-0FBE4D9C3FAA}" destId="{E5C0A0C3-950D-4232-9872-9174C1E989AA}" srcOrd="0" destOrd="0" presId="urn:microsoft.com/office/officeart/2005/8/layout/vList2"/>
    <dgm:cxn modelId="{09639F89-33C6-4CEE-B618-8F4A6C926E34}" type="presParOf" srcId="{B9ED2192-F917-4BE7-A6BE-813D7F382554}" destId="{1C2747ED-0D77-4E6D-821C-76CAEE910644}" srcOrd="0" destOrd="0" presId="urn:microsoft.com/office/officeart/2005/8/layout/vList2"/>
    <dgm:cxn modelId="{9D48C332-60F8-498A-A8D0-A83B0DEB43AD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Error Handling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consistency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131053" custLinFactNeighborY="-11961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04C39FBC-6033-4124-8AB4-5C59E650AB66}" type="presOf" srcId="{528F3EA0-FF05-41BA-8D3E-F7B5C76FE089}" destId="{1C2747ED-0D77-4E6D-821C-76CAEE910644}" srcOrd="0" destOrd="0" presId="urn:microsoft.com/office/officeart/2005/8/layout/vList2"/>
    <dgm:cxn modelId="{BC561092-4E2B-4670-86CE-E71839A297AE}" type="presOf" srcId="{66487DD0-4D79-4180-AB81-B361B4FACE09}" destId="{B9ED2192-F917-4BE7-A6BE-813D7F382554}" srcOrd="0" destOrd="0" presId="urn:microsoft.com/office/officeart/2005/8/layout/vList2"/>
    <dgm:cxn modelId="{765B1C9F-2A09-401B-AC9F-443E4FF6A5CA}" type="presOf" srcId="{0BD08EE0-BF9E-4795-9B77-0FBE4D9C3FAA}" destId="{E5C0A0C3-950D-4232-9872-9174C1E989AA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65BFDB75-162C-4FC0-BFC8-D4999C51CAC6}" type="presParOf" srcId="{B9ED2192-F917-4BE7-A6BE-813D7F382554}" destId="{1C2747ED-0D77-4E6D-821C-76CAEE910644}" srcOrd="0" destOrd="0" presId="urn:microsoft.com/office/officeart/2005/8/layout/vList2"/>
    <dgm:cxn modelId="{57488682-8DA0-403F-80E4-D1E2CAB4071E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System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Minimum specifications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LinFactNeighborY="-21695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89B27D9D-F90A-4C43-9602-2BB5FC002FA2}" type="presOf" srcId="{0BD08EE0-BF9E-4795-9B77-0FBE4D9C3FAA}" destId="{E5C0A0C3-950D-4232-9872-9174C1E989AA}" srcOrd="0" destOrd="0" presId="urn:microsoft.com/office/officeart/2005/8/layout/vList2"/>
    <dgm:cxn modelId="{6A5A7997-60E3-4B19-9B45-2F5D0B4C8CA1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96583044-F721-428D-8BB8-611BE716F13D}" type="presOf" srcId="{528F3EA0-FF05-41BA-8D3E-F7B5C76FE089}" destId="{1C2747ED-0D77-4E6D-821C-76CAEE910644}" srcOrd="0" destOrd="0" presId="urn:microsoft.com/office/officeart/2005/8/layout/vList2"/>
    <dgm:cxn modelId="{4D6538F3-4DC1-4DF7-B0FF-24A29F3DEBD0}" type="presParOf" srcId="{B9ED2192-F917-4BE7-A6BE-813D7F382554}" destId="{1C2747ED-0D77-4E6D-821C-76CAEE910644}" srcOrd="0" destOrd="0" presId="urn:microsoft.com/office/officeart/2005/8/layout/vList2"/>
    <dgm:cxn modelId="{666B91FE-00DA-4E8B-BD69-42572398D3CF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22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Invocation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Start process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14A97BF4-84E4-470B-AB37-71905FC3E903}" type="presOf" srcId="{528F3EA0-FF05-41BA-8D3E-F7B5C76FE089}" destId="{1C2747ED-0D77-4E6D-821C-76CAEE91064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10592EC2-C7C2-473F-ABC4-22128D02E5EE}" type="presOf" srcId="{66487DD0-4D79-4180-AB81-B361B4FACE09}" destId="{B9ED2192-F917-4BE7-A6BE-813D7F382554}" srcOrd="0" destOrd="0" presId="urn:microsoft.com/office/officeart/2005/8/layout/vList2"/>
    <dgm:cxn modelId="{AD35A513-EB19-40C3-8B90-685FFA0E814E}" type="presOf" srcId="{0BD08EE0-BF9E-4795-9B77-0FBE4D9C3FAA}" destId="{E5C0A0C3-950D-4232-9872-9174C1E989AA}" srcOrd="0" destOrd="0" presId="urn:microsoft.com/office/officeart/2005/8/layout/vList2"/>
    <dgm:cxn modelId="{9FF28AB8-C731-4A85-A7FC-873C72BFF9DB}" type="presParOf" srcId="{B9ED2192-F917-4BE7-A6BE-813D7F382554}" destId="{1C2747ED-0D77-4E6D-821C-76CAEE910644}" srcOrd="0" destOrd="0" presId="urn:microsoft.com/office/officeart/2005/8/layout/vList2"/>
    <dgm:cxn modelId="{59F0DB47-D8AC-4F91-8650-35383D0FEA54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27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Termination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End process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107167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03D68D77-E432-4550-AC3B-5D08BCB7BD5F}" type="presOf" srcId="{66487DD0-4D79-4180-AB81-B361B4FACE09}" destId="{B9ED2192-F917-4BE7-A6BE-813D7F382554}" srcOrd="0" destOrd="0" presId="urn:microsoft.com/office/officeart/2005/8/layout/vList2"/>
    <dgm:cxn modelId="{3549CD3E-7C22-4C2E-A013-CF328024B98E}" type="presOf" srcId="{0BD08EE0-BF9E-4795-9B77-0FBE4D9C3FAA}" destId="{E5C0A0C3-950D-4232-9872-9174C1E989AA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FDBDD394-AEE1-463E-ABF8-EAB288E3678C}" type="presOf" srcId="{528F3EA0-FF05-41BA-8D3E-F7B5C76FE089}" destId="{1C2747ED-0D77-4E6D-821C-76CAEE910644}" srcOrd="0" destOrd="0" presId="urn:microsoft.com/office/officeart/2005/8/layout/vList2"/>
    <dgm:cxn modelId="{78E808DC-54EE-4086-96B9-9988F69BD1BE}" type="presParOf" srcId="{B9ED2192-F917-4BE7-A6BE-813D7F382554}" destId="{1C2747ED-0D77-4E6D-821C-76CAEE910644}" srcOrd="0" destOrd="0" presId="urn:microsoft.com/office/officeart/2005/8/layout/vList2"/>
    <dgm:cxn modelId="{C82ED0AB-B79C-402D-89DA-1C005FB88C5B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32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Implicit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Efficiency 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69043" custLinFactNeighborY="-15036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77827008-6AA6-419E-9AC9-4029061E8D33}" type="presOf" srcId="{66487DD0-4D79-4180-AB81-B361B4FACE09}" destId="{B9ED2192-F917-4BE7-A6BE-813D7F382554}" srcOrd="0" destOrd="0" presId="urn:microsoft.com/office/officeart/2005/8/layout/vList2"/>
    <dgm:cxn modelId="{E9560A93-B640-4895-B3CD-468A15897000}" type="presOf" srcId="{528F3EA0-FF05-41BA-8D3E-F7B5C76FE089}" destId="{1C2747ED-0D77-4E6D-821C-76CAEE910644}" srcOrd="0" destOrd="0" presId="urn:microsoft.com/office/officeart/2005/8/layout/vList2"/>
    <dgm:cxn modelId="{843F4E2B-AC1D-41F2-B93A-EA449ABD71BC}" type="presOf" srcId="{0BD08EE0-BF9E-4795-9B77-0FBE4D9C3FAA}" destId="{E5C0A0C3-950D-4232-9872-9174C1E989AA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89EBEEC7-6062-41D5-988B-9CCE651E068D}" type="presParOf" srcId="{B9ED2192-F917-4BE7-A6BE-813D7F382554}" destId="{1C2747ED-0D77-4E6D-821C-76CAEE910644}" srcOrd="0" destOrd="0" presId="urn:microsoft.com/office/officeart/2005/8/layout/vList2"/>
    <dgm:cxn modelId="{C9B4C065-A621-46ED-96E9-C2737931297F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3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A0F7F32-F42D-45CF-99FD-97CF4F1B69CF}">
      <dsp:nvSpPr>
        <dsp:cNvPr id="0" name=""/>
        <dsp:cNvSpPr/>
      </dsp:nvSpPr>
      <dsp:spPr>
        <a:xfrm>
          <a:off x="1863491" y="28627"/>
          <a:ext cx="1006535" cy="98990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400" kern="1200" dirty="0" smtClean="0"/>
            <a:t>Executive</a:t>
          </a:r>
          <a:endParaRPr lang="en-IN" sz="1400" kern="1200" dirty="0"/>
        </a:p>
      </dsp:txBody>
      <dsp:txXfrm>
        <a:off x="2010895" y="173596"/>
        <a:ext cx="711727" cy="699970"/>
      </dsp:txXfrm>
    </dsp:sp>
    <dsp:sp modelId="{6C299B1E-FF91-4041-B597-AC7D7E336DDB}">
      <dsp:nvSpPr>
        <dsp:cNvPr id="0" name=""/>
        <dsp:cNvSpPr/>
      </dsp:nvSpPr>
      <dsp:spPr>
        <a:xfrm rot="7129089">
          <a:off x="1377193" y="943073"/>
          <a:ext cx="786928" cy="331154"/>
        </a:xfrm>
        <a:prstGeom prst="lef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A7DF65F0-E58E-443E-9565-BE0026763C32}">
      <dsp:nvSpPr>
        <dsp:cNvPr id="0" name=""/>
        <dsp:cNvSpPr/>
      </dsp:nvSpPr>
      <dsp:spPr>
        <a:xfrm>
          <a:off x="1173937" y="1246956"/>
          <a:ext cx="1103848" cy="88307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800" kern="1200" dirty="0" smtClean="0"/>
            <a:t>Login</a:t>
          </a:r>
          <a:endParaRPr lang="en-IN" sz="1800" kern="1200" dirty="0"/>
        </a:p>
      </dsp:txBody>
      <dsp:txXfrm>
        <a:off x="1199801" y="1272820"/>
        <a:ext cx="1052120" cy="831350"/>
      </dsp:txXfrm>
    </dsp:sp>
    <dsp:sp modelId="{BC821710-D8D6-44B3-AE70-1FB80AE0FF86}">
      <dsp:nvSpPr>
        <dsp:cNvPr id="0" name=""/>
        <dsp:cNvSpPr/>
      </dsp:nvSpPr>
      <dsp:spPr>
        <a:xfrm rot="3442039">
          <a:off x="2566410" y="962203"/>
          <a:ext cx="830620" cy="331154"/>
        </a:xfrm>
        <a:prstGeom prst="lef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3BC5D919-0D36-4BCD-8CBA-4FD7223A2EAB}">
      <dsp:nvSpPr>
        <dsp:cNvPr id="0" name=""/>
        <dsp:cNvSpPr/>
      </dsp:nvSpPr>
      <dsp:spPr>
        <a:xfrm>
          <a:off x="2557002" y="1241079"/>
          <a:ext cx="1103848" cy="88307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800" kern="1200" dirty="0" smtClean="0"/>
            <a:t>View Flight </a:t>
          </a:r>
          <a:r>
            <a:rPr lang="en-IN" sz="1800" kern="1200" dirty="0" err="1" smtClean="0"/>
            <a:t>Occupacy</a:t>
          </a:r>
          <a:endParaRPr lang="en-IN" sz="1800" kern="1200" dirty="0"/>
        </a:p>
      </dsp:txBody>
      <dsp:txXfrm>
        <a:off x="2582866" y="1266943"/>
        <a:ext cx="1052120" cy="831350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23307"/>
          <a:ext cx="1905000" cy="623610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lvl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kern="1200" dirty="0" smtClean="0"/>
            <a:t>Explicit</a:t>
          </a:r>
          <a:endParaRPr lang="en-US" sz="2600" kern="1200" dirty="0"/>
        </a:p>
      </dsp:txBody>
      <dsp:txXfrm>
        <a:off x="30442" y="53749"/>
        <a:ext cx="1844116" cy="562726"/>
      </dsp:txXfrm>
    </dsp:sp>
    <dsp:sp modelId="{E5C0A0C3-950D-4232-9872-9174C1E989AA}">
      <dsp:nvSpPr>
        <dsp:cNvPr id="0" name=""/>
        <dsp:cNvSpPr/>
      </dsp:nvSpPr>
      <dsp:spPr>
        <a:xfrm>
          <a:off x="0" y="643312"/>
          <a:ext cx="1905000" cy="632385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3020" rIns="184912" bIns="3302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000" kern="1200" dirty="0" smtClean="0"/>
            <a:t>User specified</a:t>
          </a:r>
          <a:endParaRPr lang="en-US" sz="2000" kern="1200" dirty="0"/>
        </a:p>
      </dsp:txBody>
      <dsp:txXfrm>
        <a:off x="0" y="643312"/>
        <a:ext cx="1905000" cy="632385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0"/>
          <a:ext cx="1905000" cy="455072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 smtClean="0"/>
            <a:t>Security</a:t>
          </a:r>
          <a:endParaRPr lang="en-US" sz="1900" kern="1200" dirty="0"/>
        </a:p>
      </dsp:txBody>
      <dsp:txXfrm>
        <a:off x="22215" y="22215"/>
        <a:ext cx="1860570" cy="410642"/>
      </dsp:txXfrm>
    </dsp:sp>
    <dsp:sp modelId="{E5C0A0C3-950D-4232-9872-9174C1E989AA}">
      <dsp:nvSpPr>
        <dsp:cNvPr id="0" name=""/>
        <dsp:cNvSpPr/>
      </dsp:nvSpPr>
      <dsp:spPr>
        <a:xfrm>
          <a:off x="0" y="581738"/>
          <a:ext cx="1905000" cy="59616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24130" rIns="135128" bIns="24130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500" kern="1200" dirty="0" smtClean="0"/>
            <a:t>For confidentiality</a:t>
          </a:r>
          <a:endParaRPr lang="en-US" sz="1500" kern="1200" dirty="0"/>
        </a:p>
      </dsp:txBody>
      <dsp:txXfrm>
        <a:off x="0" y="581738"/>
        <a:ext cx="1905000" cy="59616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A0F7F32-F42D-45CF-99FD-97CF4F1B69CF}">
      <dsp:nvSpPr>
        <dsp:cNvPr id="0" name=""/>
        <dsp:cNvSpPr/>
      </dsp:nvSpPr>
      <dsp:spPr>
        <a:xfrm>
          <a:off x="627402" y="317862"/>
          <a:ext cx="925961" cy="108747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800" kern="1200" smtClean="0"/>
            <a:t>Admin</a:t>
          </a:r>
          <a:endParaRPr lang="en-IN" sz="1800" kern="1200" dirty="0"/>
        </a:p>
      </dsp:txBody>
      <dsp:txXfrm>
        <a:off x="763006" y="477119"/>
        <a:ext cx="654753" cy="768963"/>
      </dsp:txXfrm>
    </dsp:sp>
    <dsp:sp modelId="{6C299B1E-FF91-4041-B597-AC7D7E336DDB}">
      <dsp:nvSpPr>
        <dsp:cNvPr id="0" name=""/>
        <dsp:cNvSpPr/>
      </dsp:nvSpPr>
      <dsp:spPr>
        <a:xfrm rot="7922065">
          <a:off x="242673" y="990501"/>
          <a:ext cx="443119" cy="263899"/>
        </a:xfrm>
        <a:prstGeom prst="lef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A7DF65F0-E58E-443E-9565-BE0026763C32}">
      <dsp:nvSpPr>
        <dsp:cNvPr id="0" name=""/>
        <dsp:cNvSpPr/>
      </dsp:nvSpPr>
      <dsp:spPr>
        <a:xfrm>
          <a:off x="0" y="1231374"/>
          <a:ext cx="879663" cy="70373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600" kern="1200" dirty="0" smtClean="0"/>
            <a:t>Login</a:t>
          </a:r>
          <a:endParaRPr lang="en-IN" sz="1600" kern="1200" dirty="0"/>
        </a:p>
      </dsp:txBody>
      <dsp:txXfrm>
        <a:off x="20612" y="1251986"/>
        <a:ext cx="838439" cy="662506"/>
      </dsp:txXfrm>
    </dsp:sp>
    <dsp:sp modelId="{BC821710-D8D6-44B3-AE70-1FB80AE0FF86}">
      <dsp:nvSpPr>
        <dsp:cNvPr id="0" name=""/>
        <dsp:cNvSpPr/>
      </dsp:nvSpPr>
      <dsp:spPr>
        <a:xfrm rot="2252212">
          <a:off x="1606881" y="964644"/>
          <a:ext cx="565378" cy="263899"/>
        </a:xfrm>
        <a:prstGeom prst="lef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3BC5D919-0D36-4BCD-8CBA-4FD7223A2EAB}">
      <dsp:nvSpPr>
        <dsp:cNvPr id="0" name=""/>
        <dsp:cNvSpPr/>
      </dsp:nvSpPr>
      <dsp:spPr>
        <a:xfrm>
          <a:off x="1501452" y="1080606"/>
          <a:ext cx="901558" cy="88639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400" kern="1200" dirty="0" smtClean="0"/>
            <a:t>Update Flight Info</a:t>
          </a:r>
          <a:endParaRPr lang="en-IN" sz="1400" kern="1200" dirty="0"/>
        </a:p>
      </dsp:txBody>
      <dsp:txXfrm>
        <a:off x="1527414" y="1106568"/>
        <a:ext cx="849634" cy="834467"/>
      </dsp:txXfrm>
    </dsp:sp>
    <dsp:sp modelId="{BEF28934-C9BE-4F77-95DB-7A66C3E1E6C5}">
      <dsp:nvSpPr>
        <dsp:cNvPr id="0" name=""/>
        <dsp:cNvSpPr/>
      </dsp:nvSpPr>
      <dsp:spPr>
        <a:xfrm rot="145000">
          <a:off x="1614371" y="774185"/>
          <a:ext cx="1062417" cy="263899"/>
        </a:xfrm>
        <a:prstGeom prst="lef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2E2D2430-8F1E-4B44-8B5F-D8073D60BC15}">
      <dsp:nvSpPr>
        <dsp:cNvPr id="0" name=""/>
        <dsp:cNvSpPr/>
      </dsp:nvSpPr>
      <dsp:spPr>
        <a:xfrm>
          <a:off x="2236484" y="576668"/>
          <a:ext cx="879663" cy="70373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400" kern="1200" dirty="0" smtClean="0"/>
            <a:t>View Booking Info</a:t>
          </a:r>
          <a:endParaRPr lang="en-IN" sz="1400" kern="1200" dirty="0"/>
        </a:p>
      </dsp:txBody>
      <dsp:txXfrm>
        <a:off x="2257096" y="597280"/>
        <a:ext cx="838439" cy="662506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11819"/>
          <a:ext cx="1905000" cy="626043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File Handling</a:t>
          </a:r>
          <a:endParaRPr lang="en-US" sz="2400" kern="1200" dirty="0"/>
        </a:p>
      </dsp:txBody>
      <dsp:txXfrm>
        <a:off x="30561" y="42380"/>
        <a:ext cx="1843878" cy="564921"/>
      </dsp:txXfrm>
    </dsp:sp>
    <dsp:sp modelId="{E5C0A0C3-950D-4232-9872-9174C1E989AA}">
      <dsp:nvSpPr>
        <dsp:cNvPr id="0" name=""/>
        <dsp:cNvSpPr/>
      </dsp:nvSpPr>
      <dsp:spPr>
        <a:xfrm>
          <a:off x="0" y="637863"/>
          <a:ext cx="1905000" cy="59616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0480" rIns="170688" bIns="30480" numCol="1" spcCol="1270" anchor="t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900" kern="1200" dirty="0" smtClean="0"/>
            <a:t>Storage of information</a:t>
          </a:r>
          <a:endParaRPr lang="en-US" sz="1900" kern="1200" dirty="0"/>
        </a:p>
      </dsp:txBody>
      <dsp:txXfrm>
        <a:off x="0" y="637863"/>
        <a:ext cx="1905000" cy="596160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255272"/>
          <a:ext cx="2209800" cy="421772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 dirty="0" smtClean="0"/>
            <a:t>Query</a:t>
          </a:r>
          <a:endParaRPr lang="en-US" sz="1700" kern="1200" dirty="0"/>
        </a:p>
      </dsp:txBody>
      <dsp:txXfrm>
        <a:off x="20589" y="275861"/>
        <a:ext cx="2168622" cy="380594"/>
      </dsp:txXfrm>
    </dsp:sp>
    <dsp:sp modelId="{E5C0A0C3-950D-4232-9872-9174C1E989AA}">
      <dsp:nvSpPr>
        <dsp:cNvPr id="0" name=""/>
        <dsp:cNvSpPr/>
      </dsp:nvSpPr>
      <dsp:spPr>
        <a:xfrm>
          <a:off x="0" y="741046"/>
          <a:ext cx="2209800" cy="46368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0161" tIns="21590" rIns="120904" bIns="21590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300" kern="1200" dirty="0" smtClean="0"/>
            <a:t>improvements</a:t>
          </a:r>
          <a:endParaRPr lang="en-US" sz="1300" kern="1200" dirty="0"/>
        </a:p>
      </dsp:txBody>
      <dsp:txXfrm>
        <a:off x="0" y="741046"/>
        <a:ext cx="2209800" cy="463680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76200"/>
          <a:ext cx="1905000" cy="691527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Error Handling</a:t>
          </a:r>
          <a:endParaRPr lang="en-US" sz="2200" kern="1200" dirty="0"/>
        </a:p>
      </dsp:txBody>
      <dsp:txXfrm>
        <a:off x="33758" y="109958"/>
        <a:ext cx="1837484" cy="624011"/>
      </dsp:txXfrm>
    </dsp:sp>
    <dsp:sp modelId="{E5C0A0C3-950D-4232-9872-9174C1E989AA}">
      <dsp:nvSpPr>
        <dsp:cNvPr id="0" name=""/>
        <dsp:cNvSpPr/>
      </dsp:nvSpPr>
      <dsp:spPr>
        <a:xfrm>
          <a:off x="0" y="811303"/>
          <a:ext cx="1905000" cy="36432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27940" rIns="156464" bIns="27940" numCol="1" spcCol="1270" anchor="t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700" kern="1200" dirty="0" smtClean="0"/>
            <a:t>consistency</a:t>
          </a:r>
          <a:endParaRPr lang="en-US" sz="1700" kern="1200" dirty="0"/>
        </a:p>
      </dsp:txBody>
      <dsp:txXfrm>
        <a:off x="0" y="811303"/>
        <a:ext cx="1905000" cy="364320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0"/>
          <a:ext cx="1905000" cy="623610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lvl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kern="1200" dirty="0" smtClean="0"/>
            <a:t>System</a:t>
          </a:r>
          <a:endParaRPr lang="en-US" sz="2600" kern="1200" dirty="0"/>
        </a:p>
      </dsp:txBody>
      <dsp:txXfrm>
        <a:off x="30442" y="30442"/>
        <a:ext cx="1844116" cy="562726"/>
      </dsp:txXfrm>
    </dsp:sp>
    <dsp:sp modelId="{E5C0A0C3-950D-4232-9872-9174C1E989AA}">
      <dsp:nvSpPr>
        <dsp:cNvPr id="0" name=""/>
        <dsp:cNvSpPr/>
      </dsp:nvSpPr>
      <dsp:spPr>
        <a:xfrm>
          <a:off x="0" y="643312"/>
          <a:ext cx="1905000" cy="632385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3020" rIns="184912" bIns="3302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000" kern="1200" dirty="0" smtClean="0"/>
            <a:t>Minimum specifications</a:t>
          </a:r>
          <a:endParaRPr lang="en-US" sz="2000" kern="1200" dirty="0"/>
        </a:p>
      </dsp:txBody>
      <dsp:txXfrm>
        <a:off x="0" y="643312"/>
        <a:ext cx="1905000" cy="632385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100342"/>
          <a:ext cx="1905000" cy="647595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lvl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700" kern="1200" dirty="0" smtClean="0"/>
            <a:t>Invocation</a:t>
          </a:r>
          <a:endParaRPr lang="en-US" sz="2700" kern="1200" dirty="0"/>
        </a:p>
      </dsp:txBody>
      <dsp:txXfrm>
        <a:off x="31613" y="131955"/>
        <a:ext cx="1841774" cy="584369"/>
      </dsp:txXfrm>
    </dsp:sp>
    <dsp:sp modelId="{E5C0A0C3-950D-4232-9872-9174C1E989AA}">
      <dsp:nvSpPr>
        <dsp:cNvPr id="0" name=""/>
        <dsp:cNvSpPr/>
      </dsp:nvSpPr>
      <dsp:spPr>
        <a:xfrm>
          <a:off x="0" y="747937"/>
          <a:ext cx="1905000" cy="44712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4290" rIns="192024" bIns="34290" numCol="1" spcCol="1270" anchor="t" anchorCtr="0">
          <a:noAutofit/>
        </a:bodyPr>
        <a:lstStyle/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100" kern="1200" dirty="0" smtClean="0"/>
            <a:t>Start process</a:t>
          </a:r>
          <a:endParaRPr lang="en-US" sz="2100" kern="1200" dirty="0"/>
        </a:p>
      </dsp:txBody>
      <dsp:txXfrm>
        <a:off x="0" y="747937"/>
        <a:ext cx="1905000" cy="447120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5099"/>
          <a:ext cx="1905000" cy="642600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lvl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500" kern="1200" dirty="0" smtClean="0"/>
            <a:t>Termination</a:t>
          </a:r>
          <a:endParaRPr lang="en-US" sz="2500" kern="1200" dirty="0"/>
        </a:p>
      </dsp:txBody>
      <dsp:txXfrm>
        <a:off x="31369" y="36468"/>
        <a:ext cx="1842262" cy="579862"/>
      </dsp:txXfrm>
    </dsp:sp>
    <dsp:sp modelId="{E5C0A0C3-950D-4232-9872-9174C1E989AA}">
      <dsp:nvSpPr>
        <dsp:cNvPr id="0" name=""/>
        <dsp:cNvSpPr/>
      </dsp:nvSpPr>
      <dsp:spPr>
        <a:xfrm>
          <a:off x="0" y="647700"/>
          <a:ext cx="1905000" cy="41400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1750" rIns="177800" bIns="3175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000" kern="1200" dirty="0" smtClean="0"/>
            <a:t>End process</a:t>
          </a:r>
          <a:endParaRPr lang="en-US" sz="2000" kern="1200" dirty="0"/>
        </a:p>
      </dsp:txBody>
      <dsp:txXfrm>
        <a:off x="0" y="647700"/>
        <a:ext cx="1905000" cy="414000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0"/>
          <a:ext cx="1905000" cy="579598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Implicit</a:t>
          </a:r>
          <a:endParaRPr lang="en-US" sz="2400" kern="1200" dirty="0"/>
        </a:p>
      </dsp:txBody>
      <dsp:txXfrm>
        <a:off x="28294" y="28294"/>
        <a:ext cx="1848412" cy="523010"/>
      </dsp:txXfrm>
    </dsp:sp>
    <dsp:sp modelId="{E5C0A0C3-950D-4232-9872-9174C1E989AA}">
      <dsp:nvSpPr>
        <dsp:cNvPr id="0" name=""/>
        <dsp:cNvSpPr/>
      </dsp:nvSpPr>
      <dsp:spPr>
        <a:xfrm>
          <a:off x="0" y="647699"/>
          <a:ext cx="1905000" cy="57960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0480" rIns="170688" bIns="30480" numCol="1" spcCol="1270" anchor="t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900" kern="1200" dirty="0" smtClean="0"/>
            <a:t>Efficiency </a:t>
          </a:r>
          <a:endParaRPr lang="en-US" sz="1900" kern="1200" dirty="0"/>
        </a:p>
      </dsp:txBody>
      <dsp:txXfrm>
        <a:off x="0" y="647699"/>
        <a:ext cx="1905000" cy="57960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5A5324-1691-432E-9B96-DD7ECF3FE52F}" type="datetimeFigureOut">
              <a:rPr lang="en-US" smtClean="0"/>
              <a:t>7/21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FCEDEF-2737-46F8-AF36-888F22E9CAC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79676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Image Placeholder 4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792288" y="428625"/>
            <a:ext cx="5048250" cy="37861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483" name="Notes Placeholder 5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3823017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8039432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9094222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0641625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502939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609601"/>
            <a:ext cx="7772400" cy="4267200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8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953000"/>
            <a:ext cx="6400800" cy="12192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A9F14-C511-417B-A9FD-D24FC59BDCAC}" type="datetime1">
              <a:rPr lang="en-US" smtClean="0"/>
              <a:t>7/21/2018</a:t>
            </a:fld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BBCBAB-C02B-4274-A7B8-550998EC6408}" type="datetime1">
              <a:rPr lang="en-US" smtClean="0"/>
              <a:t>7/21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4CA2D8-4097-488C-8F22-5B6BC7F8F25F}" type="datetime1">
              <a:rPr lang="en-US" smtClean="0"/>
              <a:t>7/21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FDF8C06-BECE-4604-993D-3EA24CE77146}" type="datetime1">
              <a:rPr lang="en-US" smtClean="0">
                <a:solidFill>
                  <a:prstClr val="black"/>
                </a:solidFill>
              </a:rPr>
              <a:pPr/>
              <a:t>7/2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7620034"/>
      </p:ext>
    </p:extLst>
  </p:cSld>
  <p:clrMapOvr>
    <a:masterClrMapping/>
  </p:clrMapOvr>
  <p:hf sldNum="0"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5F21D25-0A0E-4CEF-B8EC-06AAD4D88D67}" type="datetime1">
              <a:rPr lang="en-US" smtClean="0">
                <a:solidFill>
                  <a:prstClr val="black"/>
                </a:solidFill>
              </a:rPr>
              <a:pPr/>
              <a:t>7/2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15034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CCFFB93-16C9-4092-B2E8-8524430274D9}" type="datetime1">
              <a:rPr lang="en-US" smtClean="0">
                <a:solidFill>
                  <a:prstClr val="black"/>
                </a:solidFill>
              </a:rPr>
              <a:pPr/>
              <a:t>7/2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46540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1D1537B-F5F1-4193-B349-40CCA73A30F7}" type="datetime1">
              <a:rPr lang="en-US" smtClean="0">
                <a:solidFill>
                  <a:prstClr val="black"/>
                </a:solidFill>
              </a:rPr>
              <a:pPr/>
              <a:t>7/2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309427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096D8EE-0A5C-4A16-B50B-139E7C35F60D}" type="datetime1">
              <a:rPr lang="en-US" smtClean="0">
                <a:solidFill>
                  <a:prstClr val="black"/>
                </a:solidFill>
              </a:rPr>
              <a:pPr/>
              <a:t>7/2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50440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3FD0A75-0C51-4FAB-9A77-D3D5A22B9FD2}" type="datetime1">
              <a:rPr lang="en-US" smtClean="0">
                <a:solidFill>
                  <a:prstClr val="black"/>
                </a:solidFill>
              </a:rPr>
              <a:pPr/>
              <a:t>7/2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96258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9066677-F6DB-4D65-B38F-6102DEE5773C}" type="datetime1">
              <a:rPr lang="en-US" smtClean="0">
                <a:solidFill>
                  <a:prstClr val="black"/>
                </a:solidFill>
              </a:rPr>
              <a:pPr/>
              <a:t>7/2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94127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E864DCF-8937-41AF-9397-C604AFA04C04}" type="datetime1">
              <a:rPr lang="en-US" smtClean="0">
                <a:solidFill>
                  <a:prstClr val="black"/>
                </a:solidFill>
              </a:rPr>
              <a:pPr/>
              <a:t>7/2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24409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buFont typeface="Arial" pitchFamily="34" charset="0"/>
              <a:buChar char="•"/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3E3948-EF4E-487D-A973-F020DFB0C13D}" type="datetime1">
              <a:rPr lang="en-US" smtClean="0"/>
              <a:t>7/21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D957F01-0396-45A9-B9E5-3EF821B91B6C}" type="datetime1">
              <a:rPr lang="en-US" smtClean="0">
                <a:solidFill>
                  <a:prstClr val="black"/>
                </a:solidFill>
              </a:rPr>
              <a:pPr/>
              <a:t>7/2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265852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031CF0A-EE07-4DC7-B646-E46D5CF42549}" type="datetime1">
              <a:rPr lang="en-US" smtClean="0">
                <a:solidFill>
                  <a:prstClr val="black"/>
                </a:solidFill>
              </a:rPr>
              <a:pPr/>
              <a:t>7/2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564419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5CEAED0-EDD4-47F0-8B83-A0BFAC7192C5}" type="datetime1">
              <a:rPr lang="en-US" smtClean="0">
                <a:solidFill>
                  <a:prstClr val="black"/>
                </a:solidFill>
              </a:rPr>
              <a:pPr/>
              <a:t>7/2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68935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1371600"/>
            <a:ext cx="7772400" cy="2505075"/>
          </a:xfrm>
        </p:spPr>
        <p:txBody>
          <a:bodyPr anchor="b"/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kern="1200" dirty="0" smtClean="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4068763"/>
            <a:ext cx="7772400" cy="1131887"/>
          </a:xfrm>
        </p:spPr>
        <p:txBody>
          <a:bodyPr anchor="t"/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382192-DBA8-43EE-99A4-050572532554}" type="datetime1">
              <a:rPr lang="en-US" smtClean="0"/>
              <a:t>7/21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4495800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val 7"/>
          <p:cNvSpPr/>
          <p:nvPr/>
        </p:nvSpPr>
        <p:spPr>
          <a:xfrm>
            <a:off x="4695825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val 8"/>
          <p:cNvSpPr/>
          <p:nvPr/>
        </p:nvSpPr>
        <p:spPr>
          <a:xfrm>
            <a:off x="4296728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CC562-935D-439C-A9D0-99D4A236FD23}" type="datetime1">
              <a:rPr lang="en-US" smtClean="0"/>
              <a:t>7/21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65760" y="1600200"/>
            <a:ext cx="4041648" cy="452628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4040188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8200" y="1600200"/>
            <a:ext cx="4041775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5759BC-0EB8-42E7-A3E5-26D3D51497DF}" type="datetime1">
              <a:rPr lang="en-US" smtClean="0"/>
              <a:t>7/21/2018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57200" y="2212848"/>
            <a:ext cx="4041648" cy="391363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4672584" y="2212848"/>
            <a:ext cx="4041648" cy="39131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431F1A-BFC5-405E-A04F-D0A8DD753E51}" type="datetime1">
              <a:rPr lang="en-US" smtClean="0"/>
              <a:t>7/21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34B6A5-54F2-4F05-9229-C065F0C5A5E7}" type="datetime1">
              <a:rPr lang="en-US" smtClean="0"/>
              <a:t>7/21/2018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07087" y="266700"/>
            <a:ext cx="3008313" cy="209550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>
                <a:effectLst>
                  <a:outerShdw blurRad="50800" dist="25400" dir="5400000" algn="t" rotWithShape="0">
                    <a:prstClr val="black">
                      <a:alpha val="25000"/>
                    </a:prstClr>
                  </a:outerShdw>
                </a:effectLst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9137" y="273050"/>
            <a:ext cx="4995863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907087" y="2438400"/>
            <a:ext cx="3008313" cy="3687763"/>
          </a:xfrm>
        </p:spPr>
        <p:txBody>
          <a:bodyPr>
            <a:normAutofit/>
          </a:bodyPr>
          <a:lstStyle>
            <a:lvl1pPr marL="0" indent="0" algn="ctr">
              <a:lnSpc>
                <a:spcPct val="125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B801CD-400D-4959-9D90-8FBA5EEFE16D}" type="datetime1">
              <a:rPr lang="en-US" smtClean="0"/>
              <a:t>7/21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6" y="228600"/>
            <a:ext cx="5711824" cy="89535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508126" y="1143000"/>
            <a:ext cx="6054724" cy="4541044"/>
          </a:xfrm>
          <a:ln w="76200">
            <a:solidFill>
              <a:schemeClr val="bg1"/>
            </a:solidFill>
          </a:ln>
          <a:effectLst>
            <a:outerShdw blurRad="88900" dist="50800" dir="5400000" algn="ctr" rotWithShape="0">
              <a:srgbClr val="000000">
                <a:alpha val="25000"/>
              </a:srgbClr>
            </a:outerShdw>
          </a:effectLst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9576" y="5810250"/>
            <a:ext cx="5711824" cy="5334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650644-5C5C-4C15-8677-274220AE684D}" type="datetime1">
              <a:rPr lang="en-US" smtClean="0"/>
              <a:t>7/21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6002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363347" y="6356350"/>
            <a:ext cx="2085975" cy="365125"/>
          </a:xfrm>
          <a:prstGeom prst="rect">
            <a:avLst/>
          </a:prstGeom>
        </p:spPr>
        <p:txBody>
          <a:bodyPr vert="horz" lIns="91440" tIns="45720" rIns="4572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A46F6BC-7E90-4C48-A62D-F06457316283}" type="datetime1">
              <a:rPr lang="en-US" smtClean="0"/>
              <a:t>7/21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59165" y="6356350"/>
            <a:ext cx="2847975" cy="365125"/>
          </a:xfrm>
          <a:prstGeom prst="rect">
            <a:avLst/>
          </a:prstGeom>
        </p:spPr>
        <p:txBody>
          <a:bodyPr vert="horz" lIns="4572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43278" y="6356350"/>
            <a:ext cx="561975" cy="365125"/>
          </a:xfrm>
          <a:prstGeom prst="rect">
            <a:avLst/>
          </a:prstGeom>
        </p:spPr>
        <p:txBody>
          <a:bodyPr vert="horz" lIns="27432" tIns="45720" rIns="4572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8457760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US" sz="1800" kern="120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Oval 7"/>
          <p:cNvSpPr/>
          <p:nvPr/>
        </p:nvSpPr>
        <p:spPr>
          <a:xfrm>
            <a:off x="569119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hf hdr="0" dt="0"/>
  <p:txStyles>
    <p:titleStyle>
      <a:lvl1pPr algn="ctr" defTabSz="914400" rtl="0" eaLnBrk="1" latinLnBrk="0" hangingPunct="1">
        <a:lnSpc>
          <a:spcPts val="5800"/>
        </a:lnSpc>
        <a:spcBef>
          <a:spcPct val="0"/>
        </a:spcBef>
        <a:buNone/>
        <a:defRPr sz="5400" kern="1200">
          <a:solidFill>
            <a:schemeClr val="tx2"/>
          </a:solidFill>
          <a:effectLst>
            <a:outerShdw blurRad="63500" dist="38100" dir="5400000" algn="t" rotWithShape="0">
              <a:prstClr val="black">
                <a:alpha val="25000"/>
              </a:prstClr>
            </a:outerShdw>
          </a:effectLst>
          <a:latin typeface="+mn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en-US" dirty="0"/>
          </a:p>
        </p:txBody>
      </p:sp>
      <p:sp>
        <p:nvSpPr>
          <p:cNvPr id="7" name="Rectangle 20"/>
          <p:cNvSpPr txBox="1">
            <a:spLocks noChangeArrowheads="1"/>
          </p:cNvSpPr>
          <p:nvPr/>
        </p:nvSpPr>
        <p:spPr>
          <a:xfrm>
            <a:off x="285720" y="6597581"/>
            <a:ext cx="1219200" cy="228600"/>
          </a:xfrm>
          <a:prstGeom prst="rect">
            <a:avLst/>
          </a:prstGeom>
          <a:noFill/>
        </p:spPr>
        <p:txBody>
          <a:bodyPr/>
          <a:lstStyle/>
          <a:p>
            <a:pPr>
              <a:defRPr/>
            </a:pPr>
            <a:fld id="{634B1AA2-1421-4123-B46B-C773544C4A12}" type="datetime4">
              <a:rPr lang="en-US" sz="8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>
                <a:defRPr/>
              </a:pPr>
              <a:t>July 21, 2018</a:t>
            </a:fld>
            <a:endParaRPr lang="en-US" sz="800" dirty="0">
              <a:solidFill>
                <a:prstClr val="white">
                  <a:lumMod val="50000"/>
                </a:prstClr>
              </a:solidFill>
              <a:latin typeface="Candara" panose="020E0502030303020204" pitchFamily="34" charset="0"/>
            </a:endParaRPr>
          </a:p>
        </p:txBody>
      </p:sp>
      <p:sp>
        <p:nvSpPr>
          <p:cNvPr id="8" name="Text Box 9"/>
          <p:cNvSpPr txBox="1">
            <a:spLocks noChangeArrowheads="1"/>
          </p:cNvSpPr>
          <p:nvPr/>
        </p:nvSpPr>
        <p:spPr bwMode="auto">
          <a:xfrm>
            <a:off x="1271234" y="6597581"/>
            <a:ext cx="14318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ja-JP" sz="8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Proprietary and Confidential </a:t>
            </a:r>
          </a:p>
        </p:txBody>
      </p:sp>
      <p:sp>
        <p:nvSpPr>
          <p:cNvPr id="9" name="Text Box 5"/>
          <p:cNvSpPr txBox="1">
            <a:spLocks noChangeArrowheads="1"/>
          </p:cNvSpPr>
          <p:nvPr/>
        </p:nvSpPr>
        <p:spPr bwMode="gray">
          <a:xfrm>
            <a:off x="2750256" y="6631701"/>
            <a:ext cx="237244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b" anchorCtr="1">
            <a:spAutoFit/>
          </a:bodyPr>
          <a:lstStyle/>
          <a:p>
            <a:pPr algn="ctr" eaLnBrk="0" hangingPunct="0"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 </a:t>
            </a:r>
            <a:fld id="{F47D9766-21FB-48EB-955B-1DFC7B4C9F61}" type="slidenum">
              <a:rPr lang="en-US" sz="9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 algn="ctr" eaLnBrk="0" hangingPunct="0"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9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 </a:t>
            </a: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</a:t>
            </a:r>
          </a:p>
        </p:txBody>
      </p:sp>
      <p:cxnSp>
        <p:nvCxnSpPr>
          <p:cNvPr id="12" name="Straight Connector 11"/>
          <p:cNvCxnSpPr/>
          <p:nvPr/>
        </p:nvCxnSpPr>
        <p:spPr>
          <a:xfrm>
            <a:off x="1260144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2679678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381000" y="6610350"/>
            <a:ext cx="68389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4575" y="6321425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Freeform 4"/>
          <p:cNvSpPr>
            <a:spLocks/>
          </p:cNvSpPr>
          <p:nvPr userDrawn="1">
            <p:custDataLst>
              <p:tags r:id="rId13"/>
            </p:custDataLst>
          </p:nvPr>
        </p:nvSpPr>
        <p:spPr bwMode="auto">
          <a:xfrm>
            <a:off x="0" y="511175"/>
            <a:ext cx="9144000" cy="67151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00B0F0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>
              <a:defRPr/>
            </a:pPr>
            <a:endParaRPr lang="fr-FR" dirty="0">
              <a:solidFill>
                <a:srgbClr val="9BBB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9746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800" b="1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2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hyperlink" Target="http://ndafile:8081/AirlineReservationSystem/contact.jsp" TargetMode="External"/><Relationship Id="rId3" Type="http://schemas.openxmlformats.org/officeDocument/2006/relationships/hyperlink" Target="http://ndafile:8081/AirlineReservationSystem/" TargetMode="External"/><Relationship Id="rId7" Type="http://schemas.openxmlformats.org/officeDocument/2006/relationships/hyperlink" Target="http://ndafile:8081/AirlineReservationSystem/loginValidate.obj" TargetMode="External"/><Relationship Id="rId2" Type="http://schemas.openxmlformats.org/officeDocument/2006/relationships/hyperlink" Target="AMS_ManagerLogin.docx" TargetMode="External"/><Relationship Id="rId1" Type="http://schemas.openxmlformats.org/officeDocument/2006/relationships/slideLayout" Target="../slideLayouts/slideLayout13.xml"/><Relationship Id="rId6" Type="http://schemas.openxmlformats.org/officeDocument/2006/relationships/hyperlink" Target="http://ndafile:8081/AirlineReservationSystem/bookTicket.obj" TargetMode="External"/><Relationship Id="rId5" Type="http://schemas.openxmlformats.org/officeDocument/2006/relationships/hyperlink" Target="http://ndafile:8081/AirlineReservationSystem/View.obj" TargetMode="External"/><Relationship Id="rId4" Type="http://schemas.openxmlformats.org/officeDocument/2006/relationships/hyperlink" Target="http://ndafile:8081/AirlineReservationSystem/loginForm.obj" TargetMode="Externa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TechnoTM.pptx" TargetMode="External"/><Relationship Id="rId2" Type="http://schemas.openxmlformats.org/officeDocument/2006/relationships/slideLayout" Target="../slideLayouts/slideLayout13.xml"/><Relationship Id="rId1" Type="http://schemas.openxmlformats.org/officeDocument/2006/relationships/themeOverride" Target="../theme/themeOverride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://ndafile:8081/AirlineReservationSystem/" TargetMode="Externa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13" Type="http://schemas.microsoft.com/office/2007/relationships/diagramDrawing" Target="../diagrams/drawing2.xml"/><Relationship Id="rId3" Type="http://schemas.openxmlformats.org/officeDocument/2006/relationships/hyperlink" Target="file:///C:\Users\ikrithik\Desktop\project\TESTCASE.xlsx" TargetMode="External"/><Relationship Id="rId7" Type="http://schemas.openxmlformats.org/officeDocument/2006/relationships/diagramColors" Target="../diagrams/colors1.xml"/><Relationship Id="rId12" Type="http://schemas.openxmlformats.org/officeDocument/2006/relationships/diagramColors" Target="../diagrams/colors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Relationship Id="rId6" Type="http://schemas.openxmlformats.org/officeDocument/2006/relationships/diagramQuickStyle" Target="../diagrams/quickStyle1.xml"/><Relationship Id="rId11" Type="http://schemas.openxmlformats.org/officeDocument/2006/relationships/diagramQuickStyle" Target="../diagrams/quickStyle2.xml"/><Relationship Id="rId5" Type="http://schemas.openxmlformats.org/officeDocument/2006/relationships/diagramLayout" Target="../diagrams/layout1.xml"/><Relationship Id="rId10" Type="http://schemas.openxmlformats.org/officeDocument/2006/relationships/diagramLayout" Target="../diagrams/layout2.xml"/><Relationship Id="rId4" Type="http://schemas.openxmlformats.org/officeDocument/2006/relationships/diagramData" Target="../diagrams/data1.xml"/><Relationship Id="rId9" Type="http://schemas.openxmlformats.org/officeDocument/2006/relationships/diagramData" Target="../diagrams/data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file:///C:\Users\ikrithik\Desktop\project\RVFD.xlsx" TargetMode="External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4.xml"/><Relationship Id="rId13" Type="http://schemas.openxmlformats.org/officeDocument/2006/relationships/diagramData" Target="../diagrams/data5.xml"/><Relationship Id="rId18" Type="http://schemas.openxmlformats.org/officeDocument/2006/relationships/diagramData" Target="../diagrams/data6.xml"/><Relationship Id="rId26" Type="http://schemas.openxmlformats.org/officeDocument/2006/relationships/diagramColors" Target="../diagrams/colors7.xml"/><Relationship Id="rId39" Type="http://schemas.openxmlformats.org/officeDocument/2006/relationships/diagramLayout" Target="../diagrams/layout10.xml"/><Relationship Id="rId3" Type="http://schemas.openxmlformats.org/officeDocument/2006/relationships/diagramData" Target="../diagrams/data3.xml"/><Relationship Id="rId21" Type="http://schemas.openxmlformats.org/officeDocument/2006/relationships/diagramColors" Target="../diagrams/colors6.xml"/><Relationship Id="rId34" Type="http://schemas.openxmlformats.org/officeDocument/2006/relationships/diagramLayout" Target="../diagrams/layout9.xml"/><Relationship Id="rId42" Type="http://schemas.microsoft.com/office/2007/relationships/diagramDrawing" Target="../diagrams/drawing10.xml"/><Relationship Id="rId47" Type="http://schemas.microsoft.com/office/2007/relationships/diagramDrawing" Target="../diagrams/drawing11.xml"/><Relationship Id="rId7" Type="http://schemas.microsoft.com/office/2007/relationships/diagramDrawing" Target="../diagrams/drawing3.xml"/><Relationship Id="rId12" Type="http://schemas.microsoft.com/office/2007/relationships/diagramDrawing" Target="../diagrams/drawing4.xml"/><Relationship Id="rId17" Type="http://schemas.microsoft.com/office/2007/relationships/diagramDrawing" Target="../diagrams/drawing5.xml"/><Relationship Id="rId25" Type="http://schemas.openxmlformats.org/officeDocument/2006/relationships/diagramQuickStyle" Target="../diagrams/quickStyle7.xml"/><Relationship Id="rId33" Type="http://schemas.openxmlformats.org/officeDocument/2006/relationships/diagramData" Target="../diagrams/data9.xml"/><Relationship Id="rId38" Type="http://schemas.openxmlformats.org/officeDocument/2006/relationships/diagramData" Target="../diagrams/data10.xml"/><Relationship Id="rId46" Type="http://schemas.openxmlformats.org/officeDocument/2006/relationships/diagramColors" Target="../diagrams/colors11.xml"/><Relationship Id="rId2" Type="http://schemas.openxmlformats.org/officeDocument/2006/relationships/notesSlide" Target="../notesSlides/notesSlide5.xml"/><Relationship Id="rId16" Type="http://schemas.openxmlformats.org/officeDocument/2006/relationships/diagramColors" Target="../diagrams/colors5.xml"/><Relationship Id="rId20" Type="http://schemas.openxmlformats.org/officeDocument/2006/relationships/diagramQuickStyle" Target="../diagrams/quickStyle6.xml"/><Relationship Id="rId29" Type="http://schemas.openxmlformats.org/officeDocument/2006/relationships/diagramLayout" Target="../diagrams/layout8.xml"/><Relationship Id="rId41" Type="http://schemas.openxmlformats.org/officeDocument/2006/relationships/diagramColors" Target="../diagrams/colors10.xml"/><Relationship Id="rId1" Type="http://schemas.openxmlformats.org/officeDocument/2006/relationships/slideLayout" Target="../slideLayouts/slideLayout18.xml"/><Relationship Id="rId6" Type="http://schemas.openxmlformats.org/officeDocument/2006/relationships/diagramColors" Target="../diagrams/colors3.xml"/><Relationship Id="rId11" Type="http://schemas.openxmlformats.org/officeDocument/2006/relationships/diagramColors" Target="../diagrams/colors4.xml"/><Relationship Id="rId24" Type="http://schemas.openxmlformats.org/officeDocument/2006/relationships/diagramLayout" Target="../diagrams/layout7.xml"/><Relationship Id="rId32" Type="http://schemas.microsoft.com/office/2007/relationships/diagramDrawing" Target="../diagrams/drawing8.xml"/><Relationship Id="rId37" Type="http://schemas.microsoft.com/office/2007/relationships/diagramDrawing" Target="../diagrams/drawing9.xml"/><Relationship Id="rId40" Type="http://schemas.openxmlformats.org/officeDocument/2006/relationships/diagramQuickStyle" Target="../diagrams/quickStyle10.xml"/><Relationship Id="rId45" Type="http://schemas.openxmlformats.org/officeDocument/2006/relationships/diagramQuickStyle" Target="../diagrams/quickStyle11.xml"/><Relationship Id="rId5" Type="http://schemas.openxmlformats.org/officeDocument/2006/relationships/diagramQuickStyle" Target="../diagrams/quickStyle3.xml"/><Relationship Id="rId15" Type="http://schemas.openxmlformats.org/officeDocument/2006/relationships/diagramQuickStyle" Target="../diagrams/quickStyle5.xml"/><Relationship Id="rId23" Type="http://schemas.openxmlformats.org/officeDocument/2006/relationships/diagramData" Target="../diagrams/data7.xml"/><Relationship Id="rId28" Type="http://schemas.openxmlformats.org/officeDocument/2006/relationships/diagramData" Target="../diagrams/data8.xml"/><Relationship Id="rId36" Type="http://schemas.openxmlformats.org/officeDocument/2006/relationships/diagramColors" Target="../diagrams/colors9.xml"/><Relationship Id="rId10" Type="http://schemas.openxmlformats.org/officeDocument/2006/relationships/diagramQuickStyle" Target="../diagrams/quickStyle4.xml"/><Relationship Id="rId19" Type="http://schemas.openxmlformats.org/officeDocument/2006/relationships/diagramLayout" Target="../diagrams/layout6.xml"/><Relationship Id="rId31" Type="http://schemas.openxmlformats.org/officeDocument/2006/relationships/diagramColors" Target="../diagrams/colors8.xml"/><Relationship Id="rId44" Type="http://schemas.openxmlformats.org/officeDocument/2006/relationships/diagramLayout" Target="../diagrams/layout11.xml"/><Relationship Id="rId4" Type="http://schemas.openxmlformats.org/officeDocument/2006/relationships/diagramLayout" Target="../diagrams/layout3.xml"/><Relationship Id="rId9" Type="http://schemas.openxmlformats.org/officeDocument/2006/relationships/diagramLayout" Target="../diagrams/layout4.xml"/><Relationship Id="rId14" Type="http://schemas.openxmlformats.org/officeDocument/2006/relationships/diagramLayout" Target="../diagrams/layout5.xml"/><Relationship Id="rId22" Type="http://schemas.microsoft.com/office/2007/relationships/diagramDrawing" Target="../diagrams/drawing6.xml"/><Relationship Id="rId27" Type="http://schemas.microsoft.com/office/2007/relationships/diagramDrawing" Target="../diagrams/drawing7.xml"/><Relationship Id="rId30" Type="http://schemas.openxmlformats.org/officeDocument/2006/relationships/diagramQuickStyle" Target="../diagrams/quickStyle8.xml"/><Relationship Id="rId35" Type="http://schemas.openxmlformats.org/officeDocument/2006/relationships/diagramQuickStyle" Target="../diagrams/quickStyle9.xml"/><Relationship Id="rId43" Type="http://schemas.openxmlformats.org/officeDocument/2006/relationships/diagramData" Target="../diagrams/data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15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>
            <a:off x="0" y="6310313"/>
            <a:ext cx="9144000" cy="5476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13317" name="TextBox 10"/>
          <p:cNvSpPr txBox="1">
            <a:spLocks noChangeArrowheads="1"/>
          </p:cNvSpPr>
          <p:nvPr/>
        </p:nvSpPr>
        <p:spPr bwMode="auto">
          <a:xfrm>
            <a:off x="466724" y="1839913"/>
            <a:ext cx="8285163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4400" b="1" dirty="0" smtClean="0">
                <a:solidFill>
                  <a:schemeClr val="bg1"/>
                </a:solidFill>
                <a:latin typeface="Candara" pitchFamily="34" charset="0"/>
              </a:rPr>
              <a:t>Airline Reservation System</a:t>
            </a:r>
            <a:endParaRPr lang="en-US" sz="4400" b="1" dirty="0">
              <a:solidFill>
                <a:schemeClr val="bg1"/>
              </a:solidFill>
              <a:latin typeface="Candara" pitchFamily="34" charset="0"/>
            </a:endParaRPr>
          </a:p>
        </p:txBody>
      </p:sp>
      <p:sp>
        <p:nvSpPr>
          <p:cNvPr id="13318" name="TextBox 11"/>
          <p:cNvSpPr txBox="1">
            <a:spLocks noChangeArrowheads="1"/>
          </p:cNvSpPr>
          <p:nvPr/>
        </p:nvSpPr>
        <p:spPr bwMode="auto">
          <a:xfrm>
            <a:off x="6770688" y="5240338"/>
            <a:ext cx="179705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r>
              <a:rPr lang="en-US" sz="900" dirty="0">
                <a:solidFill>
                  <a:schemeClr val="bg1"/>
                </a:solidFill>
                <a:latin typeface="Candara" pitchFamily="34" charset="0"/>
              </a:rPr>
              <a:t>IGATE is now a part of Capgemini</a:t>
            </a:r>
          </a:p>
        </p:txBody>
      </p:sp>
      <p:pic>
        <p:nvPicPr>
          <p:cNvPr id="1331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0" y="0"/>
            <a:ext cx="9144000" cy="5413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21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125" y="5921375"/>
            <a:ext cx="2163763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88093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400">
        <p14:doors dir="ver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792162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USE CASES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b="0" dirty="0">
                <a:solidFill>
                  <a:schemeClr val="tx1"/>
                </a:solidFill>
              </a:rPr>
              <a:t>A use case is a methodology used in system analysis to identify, clarify, and organize system requirements. </a:t>
            </a:r>
            <a:endParaRPr lang="en-US" sz="2400" b="0" dirty="0" smtClean="0">
              <a:solidFill>
                <a:schemeClr val="tx1"/>
              </a:solidFill>
            </a:endParaRPr>
          </a:p>
          <a:p>
            <a:r>
              <a:rPr lang="en-US" sz="2400" b="0" dirty="0">
                <a:solidFill>
                  <a:schemeClr val="tx1"/>
                </a:solidFill>
              </a:rPr>
              <a:t>The use case is made up of a set of possible sequences of interactions between systems and users in a particular environment and related to a particular goal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US" sz="2400" b="0" dirty="0">
                <a:solidFill>
                  <a:schemeClr val="tx1"/>
                </a:solidFill>
              </a:rPr>
              <a:t>A use case can be thought of as a collection of possible scenarios related to a particular goal, indeed, the use case and goal are sometimes considered to be synonymous.</a:t>
            </a:r>
          </a:p>
        </p:txBody>
      </p:sp>
    </p:spTree>
    <p:extLst>
      <p:ext uri="{BB962C8B-B14F-4D97-AF65-F5344CB8AC3E}">
        <p14:creationId xmlns:p14="http://schemas.microsoft.com/office/powerpoint/2010/main" val="304999630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0756" y="89316"/>
            <a:ext cx="8229600" cy="792162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USE CASES</a:t>
            </a:r>
            <a:endParaRPr lang="en-US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0518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SE CASE DIAGRAM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1901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6200" y="21266"/>
            <a:ext cx="8229600" cy="792162"/>
          </a:xfrm>
        </p:spPr>
        <p:txBody>
          <a:bodyPr/>
          <a:lstStyle/>
          <a:p>
            <a:r>
              <a:rPr lang="en-US" dirty="0" smtClean="0"/>
              <a:t>USE CASE DIAGRA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0229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USE </a:t>
            </a:r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ASE HYPERLINK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>
                <a:solidFill>
                  <a:schemeClr val="tx1"/>
                </a:solidFill>
              </a:rPr>
              <a:t>Login:</a:t>
            </a:r>
            <a:endParaRPr lang="en-US" dirty="0" smtClean="0">
              <a:solidFill>
                <a:schemeClr val="tx1"/>
              </a:solidFill>
              <a:hlinkClick r:id="rId2" action="ppaction://hlinkfile"/>
            </a:endParaRPr>
          </a:p>
          <a:p>
            <a:r>
              <a:rPr lang="en-US" b="0" dirty="0">
                <a:solidFill>
                  <a:schemeClr val="tx1"/>
                </a:solidFill>
                <a:hlinkClick r:id="rId3"/>
              </a:rPr>
              <a:t>http://</a:t>
            </a:r>
            <a:r>
              <a:rPr lang="en-US" b="0" dirty="0" smtClean="0">
                <a:solidFill>
                  <a:schemeClr val="tx1"/>
                </a:solidFill>
                <a:hlinkClick r:id="rId3"/>
              </a:rPr>
              <a:t>ndafile:8081/AirlineReservationSystem/</a:t>
            </a:r>
            <a:endParaRPr lang="en-US" b="0" dirty="0" smtClean="0">
              <a:solidFill>
                <a:schemeClr val="tx1"/>
              </a:solidFill>
            </a:endParaRPr>
          </a:p>
          <a:p>
            <a:r>
              <a:rPr lang="en-US" b="0" dirty="0">
                <a:solidFill>
                  <a:schemeClr val="tx1"/>
                </a:solidFill>
                <a:hlinkClick r:id="rId4"/>
              </a:rPr>
              <a:t>http://</a:t>
            </a:r>
            <a:r>
              <a:rPr lang="en-US" b="0" dirty="0" smtClean="0">
                <a:solidFill>
                  <a:schemeClr val="tx1"/>
                </a:solidFill>
                <a:hlinkClick r:id="rId4"/>
              </a:rPr>
              <a:t>ndafile:8081/AirlineReservationSystem/loginForm.obj</a:t>
            </a:r>
            <a:endParaRPr lang="en-US" b="0" dirty="0" smtClean="0">
              <a:solidFill>
                <a:schemeClr val="tx1"/>
              </a:solidFill>
            </a:endParaRPr>
          </a:p>
          <a:p>
            <a:endParaRPr lang="en-US" b="0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US" dirty="0" smtClean="0">
                <a:solidFill>
                  <a:schemeClr val="tx1"/>
                </a:solidFill>
              </a:rPr>
              <a:t>Functionalities:</a:t>
            </a:r>
          </a:p>
          <a:p>
            <a:r>
              <a:rPr lang="en-US" b="0" dirty="0">
                <a:solidFill>
                  <a:schemeClr val="tx1"/>
                </a:solidFill>
                <a:hlinkClick r:id="rId5"/>
              </a:rPr>
              <a:t>http://</a:t>
            </a:r>
            <a:r>
              <a:rPr lang="en-US" b="0" dirty="0" smtClean="0">
                <a:solidFill>
                  <a:schemeClr val="tx1"/>
                </a:solidFill>
                <a:hlinkClick r:id="rId5"/>
              </a:rPr>
              <a:t>ndafile:8081/AirlineReservationSystem/View.obj</a:t>
            </a:r>
            <a:endParaRPr lang="en-US" b="0" dirty="0" smtClean="0">
              <a:solidFill>
                <a:schemeClr val="tx1"/>
              </a:solidFill>
            </a:endParaRPr>
          </a:p>
          <a:p>
            <a:r>
              <a:rPr lang="en-US" b="0" dirty="0">
                <a:solidFill>
                  <a:schemeClr val="tx1"/>
                </a:solidFill>
                <a:hlinkClick r:id="rId6"/>
              </a:rPr>
              <a:t>http://</a:t>
            </a:r>
            <a:r>
              <a:rPr lang="en-US" b="0" dirty="0" smtClean="0">
                <a:solidFill>
                  <a:schemeClr val="tx1"/>
                </a:solidFill>
                <a:hlinkClick r:id="rId6"/>
              </a:rPr>
              <a:t>ndafile:8081/AirlineReservationSystem/bookTicket.obj</a:t>
            </a:r>
            <a:endParaRPr lang="en-US" b="0" dirty="0">
              <a:solidFill>
                <a:schemeClr val="tx1"/>
              </a:solidFill>
            </a:endParaRPr>
          </a:p>
          <a:p>
            <a:r>
              <a:rPr lang="en-US" b="0" dirty="0">
                <a:solidFill>
                  <a:schemeClr val="tx1"/>
                </a:solidFill>
                <a:hlinkClick r:id="rId7"/>
              </a:rPr>
              <a:t>http://</a:t>
            </a:r>
            <a:r>
              <a:rPr lang="en-US" b="0" dirty="0" smtClean="0">
                <a:solidFill>
                  <a:schemeClr val="tx1"/>
                </a:solidFill>
                <a:hlinkClick r:id="rId7"/>
              </a:rPr>
              <a:t>ndafile:8081/AirlineReservationSystem/loginValidate.obj</a:t>
            </a:r>
            <a:endParaRPr lang="en-US" b="0" dirty="0">
              <a:solidFill>
                <a:schemeClr val="tx1"/>
              </a:solidFill>
            </a:endParaRPr>
          </a:p>
          <a:p>
            <a:r>
              <a:rPr lang="en-US" b="0" dirty="0" smtClean="0">
                <a:solidFill>
                  <a:schemeClr val="tx1"/>
                </a:solidFill>
                <a:hlinkClick r:id="rId8"/>
              </a:rPr>
              <a:t>http</a:t>
            </a:r>
            <a:r>
              <a:rPr lang="en-US" b="0" dirty="0">
                <a:solidFill>
                  <a:schemeClr val="tx1"/>
                </a:solidFill>
                <a:hlinkClick r:id="rId8"/>
              </a:rPr>
              <a:t>://</a:t>
            </a:r>
            <a:r>
              <a:rPr lang="en-US" b="0" dirty="0" smtClean="0">
                <a:solidFill>
                  <a:schemeClr val="tx1"/>
                </a:solidFill>
                <a:hlinkClick r:id="rId8"/>
              </a:rPr>
              <a:t>ndafile:8081/AirlineReservationSystem/contact.jsp</a:t>
            </a:r>
            <a:endParaRPr lang="en-US" b="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842423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792162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FDR</a:t>
            </a:r>
            <a:endParaRPr lang="en-US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000" b="0" dirty="0">
                <a:solidFill>
                  <a:schemeClr val="tx1"/>
                </a:solidFill>
              </a:rPr>
              <a:t>A defect is an error or a bug, in the application that causes it to produce an incorrect or unexpected </a:t>
            </a:r>
            <a:r>
              <a:rPr lang="en-US" sz="2000" b="0" dirty="0" smtClean="0">
                <a:solidFill>
                  <a:schemeClr val="tx1"/>
                </a:solidFill>
              </a:rPr>
              <a:t>results. </a:t>
            </a:r>
          </a:p>
          <a:p>
            <a:r>
              <a:rPr lang="en-US" sz="2000" b="0" dirty="0" smtClean="0">
                <a:solidFill>
                  <a:schemeClr val="tx1"/>
                </a:solidFill>
              </a:rPr>
              <a:t>A </a:t>
            </a:r>
            <a:r>
              <a:rPr lang="en-US" sz="2000" b="0" dirty="0">
                <a:solidFill>
                  <a:schemeClr val="tx1"/>
                </a:solidFill>
              </a:rPr>
              <a:t>programmer while </a:t>
            </a:r>
            <a:r>
              <a:rPr lang="en-US" sz="2000" b="0" dirty="0" smtClean="0">
                <a:solidFill>
                  <a:schemeClr val="tx1"/>
                </a:solidFill>
              </a:rPr>
              <a:t>designing and </a:t>
            </a:r>
            <a:r>
              <a:rPr lang="en-US" sz="2000" b="0" dirty="0">
                <a:solidFill>
                  <a:schemeClr val="tx1"/>
                </a:solidFill>
              </a:rPr>
              <a:t>building the software can make mistake or error</a:t>
            </a:r>
            <a:r>
              <a:rPr lang="en-US" sz="2000" b="0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US" sz="2000" b="0" dirty="0">
                <a:solidFill>
                  <a:schemeClr val="tx1"/>
                </a:solidFill>
              </a:rPr>
              <a:t>These mistakes or errors mean that there are flaws in the software, these are called defects and the report written for logging these defects is called a defect report</a:t>
            </a:r>
            <a:r>
              <a:rPr lang="en-US" sz="2000" b="0" dirty="0" smtClean="0">
                <a:solidFill>
                  <a:schemeClr val="tx1"/>
                </a:solidFill>
              </a:rPr>
              <a:t>.</a:t>
            </a:r>
          </a:p>
          <a:p>
            <a:endParaRPr lang="en-US" sz="2000" b="0" dirty="0">
              <a:solidFill>
                <a:schemeClr val="tx1"/>
              </a:solidFill>
            </a:endParaRPr>
          </a:p>
          <a:p>
            <a:endParaRPr lang="en-US" sz="2000" b="0" dirty="0" smtClean="0">
              <a:solidFill>
                <a:schemeClr val="tx1"/>
              </a:solidFill>
            </a:endParaRPr>
          </a:p>
          <a:p>
            <a:endParaRPr lang="en-US" sz="2000" b="0" dirty="0">
              <a:solidFill>
                <a:schemeClr val="tx1"/>
              </a:solidFill>
            </a:endParaRPr>
          </a:p>
          <a:p>
            <a:endParaRPr lang="en-US" sz="2000" b="0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US" sz="2400" dirty="0" smtClean="0">
                <a:solidFill>
                  <a:schemeClr val="tx1"/>
                </a:solidFill>
              </a:rPr>
              <a:t>LINK:	</a:t>
            </a:r>
            <a:r>
              <a:rPr lang="en-US" sz="2400" dirty="0" smtClean="0">
                <a:solidFill>
                  <a:schemeClr val="tx1"/>
                </a:solidFill>
                <a:hlinkClick r:id="rId3" action="ppaction://hlinkpres?slideindex=1&amp;slidetitle="/>
              </a:rPr>
              <a:t>TechnoTM.pptx</a:t>
            </a:r>
            <a:endParaRPr lang="en-US" sz="24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59788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EFECTS FOUND</a:t>
            </a:r>
            <a:endParaRPr lang="en-US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830763"/>
          </a:xfrm>
        </p:spPr>
        <p:txBody>
          <a:bodyPr/>
          <a:lstStyle/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 smtClean="0">
                <a:solidFill>
                  <a:schemeClr val="tx1"/>
                </a:solidFill>
              </a:rPr>
              <a:t>Admin cannot be able to login in to website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>
                <a:solidFill>
                  <a:schemeClr val="tx1"/>
                </a:solidFill>
              </a:rPr>
              <a:t>The system does not </a:t>
            </a:r>
            <a:r>
              <a:rPr lang="en-US" b="0" dirty="0" smtClean="0">
                <a:solidFill>
                  <a:schemeClr val="tx1"/>
                </a:solidFill>
              </a:rPr>
              <a:t>display appropriate error </a:t>
            </a:r>
            <a:r>
              <a:rPr lang="en-US" b="0" dirty="0">
                <a:solidFill>
                  <a:schemeClr val="tx1"/>
                </a:solidFill>
              </a:rPr>
              <a:t>message on entering invalid username and </a:t>
            </a:r>
            <a:r>
              <a:rPr lang="en-US" b="0" dirty="0" smtClean="0">
                <a:solidFill>
                  <a:schemeClr val="tx1"/>
                </a:solidFill>
              </a:rPr>
              <a:t>invalid password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 smtClean="0">
                <a:solidFill>
                  <a:schemeClr val="tx1"/>
                </a:solidFill>
              </a:rPr>
              <a:t>Admin cannot be able to view the flight schedule.</a:t>
            </a:r>
            <a:endParaRPr lang="en-US" b="0" dirty="0">
              <a:solidFill>
                <a:schemeClr val="tx1"/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IN" b="0" dirty="0" smtClean="0">
                <a:solidFill>
                  <a:schemeClr val="tx1"/>
                </a:solidFill>
              </a:rPr>
              <a:t>Admin cannot be able to update the Flight schedule.</a:t>
            </a:r>
            <a:endParaRPr lang="en-US" b="0" dirty="0" smtClean="0">
              <a:solidFill>
                <a:schemeClr val="tx1"/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IN" b="0" dirty="0">
                <a:solidFill>
                  <a:schemeClr val="tx1"/>
                </a:solidFill>
              </a:rPr>
              <a:t>Admin cannot be able to </a:t>
            </a:r>
            <a:r>
              <a:rPr lang="en-IN" b="0" dirty="0" smtClean="0">
                <a:solidFill>
                  <a:schemeClr val="tx1"/>
                </a:solidFill>
              </a:rPr>
              <a:t>view the passenger list of specific Flight.</a:t>
            </a:r>
            <a:endParaRPr lang="en-US" b="0" dirty="0">
              <a:solidFill>
                <a:schemeClr val="tx1"/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endParaRPr lang="en-US" b="0" dirty="0">
              <a:solidFill>
                <a:schemeClr val="tx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16</a:t>
            </a:fld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609600" y="1447800"/>
            <a:ext cx="7620000" cy="46166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IN" sz="2400" dirty="0" smtClean="0"/>
              <a:t>Admin</a:t>
            </a:r>
            <a:endParaRPr lang="en-IN" sz="2400" dirty="0"/>
          </a:p>
        </p:txBody>
      </p:sp>
    </p:spTree>
    <p:extLst>
      <p:ext uri="{BB962C8B-B14F-4D97-AF65-F5344CB8AC3E}">
        <p14:creationId xmlns:p14="http://schemas.microsoft.com/office/powerpoint/2010/main" val="325411851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 smtClean="0"/>
              <a:t>DEFECTS FOUND</a:t>
            </a:r>
            <a:endParaRPr lang="en-US" sz="3200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905000"/>
            <a:ext cx="8229600" cy="4221163"/>
          </a:xfrm>
        </p:spPr>
        <p:txBody>
          <a:bodyPr/>
          <a:lstStyle/>
          <a:p>
            <a:pPr>
              <a:buFont typeface="Wingdings" panose="05000000000000000000" pitchFamily="2" charset="2"/>
              <a:buChar char="Ø"/>
            </a:pPr>
            <a:r>
              <a:rPr lang="en-US" b="0" dirty="0" smtClean="0">
                <a:solidFill>
                  <a:schemeClr val="tx1"/>
                </a:solidFill>
              </a:rPr>
              <a:t>Airline-Executive cannot be able to view the flight occupancy details.</a:t>
            </a:r>
            <a:endParaRPr lang="en-US" b="0" dirty="0">
              <a:solidFill>
                <a:schemeClr val="tx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85800" y="1219200"/>
            <a:ext cx="7696200" cy="46166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IN" sz="2400" dirty="0" smtClean="0"/>
              <a:t>Airline-Executive</a:t>
            </a:r>
            <a:endParaRPr lang="en-IN" sz="2400" dirty="0"/>
          </a:p>
        </p:txBody>
      </p:sp>
    </p:spTree>
    <p:extLst>
      <p:ext uri="{BB962C8B-B14F-4D97-AF65-F5344CB8AC3E}">
        <p14:creationId xmlns:p14="http://schemas.microsoft.com/office/powerpoint/2010/main" val="51061352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EFECTS FOUND</a:t>
            </a:r>
            <a:endParaRPr lang="en-US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830763"/>
          </a:xfrm>
        </p:spPr>
        <p:txBody>
          <a:bodyPr/>
          <a:lstStyle/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 smtClean="0">
                <a:solidFill>
                  <a:schemeClr val="tx1"/>
                </a:solidFill>
              </a:rPr>
              <a:t>User cannot be able to view the reservation details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 smtClean="0">
                <a:solidFill>
                  <a:schemeClr val="tx1"/>
                </a:solidFill>
              </a:rPr>
              <a:t>User cannot be able to update the booking details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>
                <a:solidFill>
                  <a:schemeClr val="tx1"/>
                </a:solidFill>
              </a:rPr>
              <a:t>User cannot be able to </a:t>
            </a:r>
            <a:r>
              <a:rPr lang="en-US" b="0" dirty="0" smtClean="0">
                <a:solidFill>
                  <a:schemeClr val="tx1"/>
                </a:solidFill>
              </a:rPr>
              <a:t>cancel </a:t>
            </a:r>
            <a:r>
              <a:rPr lang="en-US" b="0" dirty="0">
                <a:solidFill>
                  <a:schemeClr val="tx1"/>
                </a:solidFill>
              </a:rPr>
              <a:t>the booking </a:t>
            </a:r>
            <a:r>
              <a:rPr lang="en-US" b="0" dirty="0" smtClean="0">
                <a:solidFill>
                  <a:schemeClr val="tx1"/>
                </a:solidFill>
              </a:rPr>
              <a:t>details.</a:t>
            </a:r>
            <a:endParaRPr lang="en-US" b="0" dirty="0">
              <a:solidFill>
                <a:schemeClr val="tx1"/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>
                <a:solidFill>
                  <a:schemeClr val="tx1"/>
                </a:solidFill>
              </a:rPr>
              <a:t>User cannot be able </a:t>
            </a:r>
            <a:r>
              <a:rPr lang="en-US" b="0" dirty="0" smtClean="0">
                <a:solidFill>
                  <a:schemeClr val="tx1"/>
                </a:solidFill>
              </a:rPr>
              <a:t>to make payment through Net-Banking/Debit card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 smtClean="0">
                <a:solidFill>
                  <a:schemeClr val="tx1"/>
                </a:solidFill>
              </a:rPr>
              <a:t>Users are allowed to enter the numeric data in the name field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 smtClean="0">
                <a:solidFill>
                  <a:schemeClr val="tx1"/>
                </a:solidFill>
              </a:rPr>
              <a:t>Users are allowed to enter invalid mail Id.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18</a:t>
            </a:fld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475397" y="1524000"/>
            <a:ext cx="7620000" cy="46166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IN" sz="2400" dirty="0" smtClean="0"/>
              <a:t>User</a:t>
            </a:r>
            <a:endParaRPr lang="en-IN" sz="2400" dirty="0"/>
          </a:p>
        </p:txBody>
      </p:sp>
    </p:spTree>
    <p:extLst>
      <p:ext uri="{BB962C8B-B14F-4D97-AF65-F5344CB8AC3E}">
        <p14:creationId xmlns:p14="http://schemas.microsoft.com/office/powerpoint/2010/main" val="188811695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304800" y="228600"/>
            <a:ext cx="8229600" cy="457200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3200" b="1" dirty="0" smtClean="0">
                <a:latin typeface="Bookman Old Style" panose="02050604050505020204" pitchFamily="18" charset="0"/>
                <a:cs typeface="Times New Roman" panose="02020603050405020304" pitchFamily="18" charset="0"/>
              </a:rPr>
              <a:t>Application link</a:t>
            </a:r>
            <a:endParaRPr lang="en-IN" sz="3200" b="1" dirty="0">
              <a:latin typeface="Bookman Old Style" panose="020506040505050202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399" y="1828799"/>
            <a:ext cx="8382001" cy="4114801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304800" y="1108747"/>
            <a:ext cx="7620000" cy="4247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20000"/>
              </a:lnSpc>
            </a:pPr>
            <a:r>
              <a:rPr lang="en-US" u="sng" spc="10" dirty="0">
                <a:solidFill>
                  <a:srgbClr val="0000FF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  <a:hlinkClick r:id="rId3"/>
              </a:rPr>
              <a:t>http://ndafile:8081/AirlineReservationSystem/</a:t>
            </a:r>
            <a:endParaRPr lang="en-US" spc="1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2544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TEAM MEMBERS</a:t>
            </a:r>
            <a:endParaRPr lang="en-IN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530122755"/>
              </p:ext>
            </p:extLst>
          </p:nvPr>
        </p:nvGraphicFramePr>
        <p:xfrm>
          <a:off x="1066800" y="1600200"/>
          <a:ext cx="7391400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95700"/>
                <a:gridCol w="3695700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Employee I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Employee Name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5068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B. Sri Vani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5070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/>
                        <a:t>Ch.</a:t>
                      </a:r>
                      <a:r>
                        <a:rPr lang="en-US" baseline="0" dirty="0" smtClean="0"/>
                        <a:t> </a:t>
                      </a:r>
                      <a:r>
                        <a:rPr lang="en-US" baseline="0" dirty="0" err="1" smtClean="0"/>
                        <a:t>Anudeep</a:t>
                      </a:r>
                      <a:endParaRPr lang="en-US" dirty="0" smtClean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5070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Ch.</a:t>
                      </a:r>
                      <a:r>
                        <a:rPr lang="en-US" baseline="0" dirty="0" smtClean="0"/>
                        <a:t> Lakshmi </a:t>
                      </a:r>
                      <a:r>
                        <a:rPr lang="en-US" baseline="0" dirty="0" err="1" smtClean="0"/>
                        <a:t>Kalyani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5068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/>
                        <a:t>B.</a:t>
                      </a:r>
                      <a:r>
                        <a:rPr lang="en-US" baseline="0" dirty="0" smtClean="0"/>
                        <a:t> </a:t>
                      </a:r>
                      <a:r>
                        <a:rPr lang="en-US" baseline="0" dirty="0" err="1" smtClean="0"/>
                        <a:t>SreeLekha</a:t>
                      </a:r>
                      <a:endParaRPr lang="en-US" dirty="0" smtClean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4912929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0"/>
            <a:ext cx="8229600" cy="1020762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itchFamily="18" charset="0"/>
                <a:cs typeface="Times New Roman" pitchFamily="18" charset="0"/>
              </a:rPr>
              <a:t>Test Case Adequacy </a:t>
            </a:r>
            <a:endParaRPr lang="en-US" sz="3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b="0" dirty="0">
                <a:solidFill>
                  <a:schemeClr val="tx1"/>
                </a:solidFill>
              </a:rPr>
              <a:t>This defines the number of actual test cases created vs estimated test cases at the end of test case preparation phase. It is calculated </a:t>
            </a:r>
            <a:r>
              <a:rPr lang="en-US" sz="2400" b="0" dirty="0" smtClean="0">
                <a:solidFill>
                  <a:schemeClr val="tx1"/>
                </a:solidFill>
              </a:rPr>
              <a:t>as</a:t>
            </a:r>
            <a:endParaRPr lang="en-US" sz="2400" dirty="0"/>
          </a:p>
          <a:p>
            <a:pPr marL="0" indent="0">
              <a:buNone/>
            </a:pPr>
            <a:r>
              <a:rPr lang="en-US" sz="2400" b="0" dirty="0"/>
              <a:t/>
            </a:r>
            <a:br>
              <a:rPr lang="en-US" sz="2400" b="0" dirty="0"/>
            </a:b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Test </a:t>
            </a:r>
            <a:r>
              <a:rPr lang="en-US" sz="2400" b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Case Adequacy = No. of  actual Test cases*100/No. </a:t>
            </a: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	of </a:t>
            </a:r>
            <a:r>
              <a:rPr lang="en-US" sz="2400" b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estimated Test cases estimated</a:t>
            </a:r>
          </a:p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		=(79*100)/89</a:t>
            </a:r>
          </a:p>
          <a:p>
            <a:pPr marL="0" indent="0">
              <a:buNone/>
            </a:pPr>
            <a:r>
              <a:rPr lang="en-US" sz="2400" b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	</a:t>
            </a: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	=88.76</a:t>
            </a:r>
            <a:endParaRPr lang="en-US" sz="2400" b="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706512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8600" y="-13855"/>
            <a:ext cx="7772400" cy="1066800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itchFamily="18" charset="0"/>
                <a:cs typeface="Times New Roman" pitchFamily="18" charset="0"/>
              </a:rPr>
              <a:t>Test Case Effectiveness</a:t>
            </a:r>
            <a:endParaRPr lang="en-US" sz="3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600" y="1828800"/>
            <a:ext cx="8001000" cy="4419600"/>
          </a:xfrm>
        </p:spPr>
        <p:txBody>
          <a:bodyPr>
            <a:normAutofit/>
          </a:bodyPr>
          <a:lstStyle/>
          <a:p>
            <a:pPr algn="l"/>
            <a:r>
              <a:rPr lang="en-US" sz="2400" b="0" dirty="0">
                <a:solidFill>
                  <a:schemeClr val="tx1"/>
                </a:solidFill>
                <a:cs typeface="Times New Roman" pitchFamily="18" charset="0"/>
              </a:rPr>
              <a:t>This metrics defines the effectiveness of the test cases which is measured in terms of the number of defects found in testing with using the test cases.</a:t>
            </a:r>
          </a:p>
          <a:p>
            <a:pPr algn="l"/>
            <a:endParaRPr lang="en-US" sz="2400" b="0" dirty="0">
              <a:solidFill>
                <a:schemeClr val="tx1"/>
              </a:solidFill>
              <a:cs typeface="Times New Roman" pitchFamily="18" charset="0"/>
            </a:endParaRPr>
          </a:p>
          <a:p>
            <a:pPr algn="l"/>
            <a:r>
              <a:rPr lang="en-US" sz="2400" b="0" dirty="0">
                <a:solidFill>
                  <a:schemeClr val="tx1"/>
                </a:solidFill>
                <a:cs typeface="Times New Roman" pitchFamily="18" charset="0"/>
              </a:rPr>
              <a:t>Test Case Effectiveness = </a:t>
            </a:r>
            <a:r>
              <a:rPr lang="en-US" sz="2400" b="0" dirty="0" smtClean="0">
                <a:solidFill>
                  <a:schemeClr val="tx1"/>
                </a:solidFill>
                <a:cs typeface="Times New Roman" pitchFamily="18" charset="0"/>
              </a:rPr>
              <a:t>No</a:t>
            </a:r>
            <a:r>
              <a:rPr lang="en-US" sz="2400" b="0" dirty="0">
                <a:solidFill>
                  <a:schemeClr val="tx1"/>
                </a:solidFill>
                <a:cs typeface="Times New Roman" pitchFamily="18" charset="0"/>
              </a:rPr>
              <a:t>. of defects detected </a:t>
            </a:r>
            <a:r>
              <a:rPr lang="en-US" sz="2400" b="0" dirty="0" smtClean="0">
                <a:solidFill>
                  <a:schemeClr val="tx1"/>
                </a:solidFill>
                <a:cs typeface="Times New Roman" pitchFamily="18" charset="0"/>
              </a:rPr>
              <a:t>using </a:t>
            </a:r>
            <a:r>
              <a:rPr lang="en-US" sz="2400" b="0" dirty="0">
                <a:solidFill>
                  <a:schemeClr val="tx1"/>
                </a:solidFill>
                <a:cs typeface="Times New Roman" pitchFamily="18" charset="0"/>
              </a:rPr>
              <a:t>test cases*100)/total no of defects detected in testing</a:t>
            </a:r>
          </a:p>
          <a:p>
            <a:pPr lvl="2" algn="l"/>
            <a:r>
              <a:rPr lang="en-US" sz="1800" dirty="0">
                <a:solidFill>
                  <a:schemeClr val="tx1"/>
                </a:solidFill>
              </a:rPr>
              <a:t>	</a:t>
            </a:r>
            <a:r>
              <a:rPr lang="en-US" sz="1800" dirty="0" smtClean="0">
                <a:solidFill>
                  <a:schemeClr val="tx1"/>
                </a:solidFill>
              </a:rPr>
              <a:t>=(15*100)/</a:t>
            </a:r>
            <a:r>
              <a:rPr lang="en-US" sz="1800" dirty="0">
                <a:solidFill>
                  <a:schemeClr val="tx1"/>
                </a:solidFill>
              </a:rPr>
              <a:t>1</a:t>
            </a:r>
            <a:r>
              <a:rPr lang="en-US" sz="1800" dirty="0" smtClean="0">
                <a:solidFill>
                  <a:schemeClr val="tx1"/>
                </a:solidFill>
              </a:rPr>
              <a:t>8</a:t>
            </a:r>
          </a:p>
          <a:p>
            <a:pPr lvl="2" algn="l"/>
            <a:r>
              <a:rPr lang="en-US" sz="1800" b="0" dirty="0">
                <a:solidFill>
                  <a:schemeClr val="tx1"/>
                </a:solidFill>
              </a:rPr>
              <a:t>	</a:t>
            </a:r>
            <a:r>
              <a:rPr lang="en-US" sz="1800" b="0" dirty="0" smtClean="0">
                <a:solidFill>
                  <a:schemeClr val="tx1"/>
                </a:solidFill>
              </a:rPr>
              <a:t>=83.33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sz="2400" b="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246921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76200"/>
            <a:ext cx="8229600" cy="792162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itchFamily="18" charset="0"/>
                <a:cs typeface="Times New Roman" pitchFamily="18" charset="0"/>
              </a:rPr>
              <a:t>Project Statistics</a:t>
            </a:r>
            <a:endParaRPr lang="en-US" sz="3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7782" y="1828800"/>
            <a:ext cx="8229600" cy="452596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Test Cases			= 79</a:t>
            </a:r>
          </a:p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Test Cases Passed		= 51</a:t>
            </a:r>
          </a:p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Test Cases Failed		= 28</a:t>
            </a:r>
          </a:p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</a:t>
            </a:r>
            <a:r>
              <a:rPr lang="en-US" sz="2400" b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D</a:t>
            </a: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efects Logged		= 15</a:t>
            </a:r>
          </a:p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Use Cases			= 1</a:t>
            </a:r>
            <a:endParaRPr lang="en-US" sz="2400" b="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610436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raceability Matrix</a:t>
            </a:r>
            <a:endParaRPr lang="en-US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57200" y="1143000"/>
            <a:ext cx="8077200" cy="502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9655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2183878" y="2514600"/>
            <a:ext cx="4776244" cy="1200329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7200" b="1" dirty="0" smtClean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THANK YOU</a:t>
            </a:r>
            <a:endParaRPr lang="en-US" sz="5400" b="1" cap="none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439698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Bar dir="vert"/>
      </p:transition>
    </mc:Choice>
    <mc:Fallback xmlns="">
      <p:transition spd="slow">
        <p:randomBar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ONTENTS</a:t>
            </a:r>
            <a:endParaRPr lang="en-US" sz="32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OVERVIEW 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ACTORS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TESTCASE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REQUIREMENT ITEMIZATION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USECASE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DEFECTS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APPLICATION LINK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TEST CASE ADEQUACY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TEST CASE EFFECTIVENESS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PROJECT STATISTICS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TRACEABALITY MATRIX</a:t>
            </a:r>
            <a:r>
              <a:rPr lang="en-US" dirty="0" smtClean="0"/>
              <a:t/>
            </a:r>
            <a:br>
              <a:rPr lang="en-US" dirty="0" smtClean="0"/>
            </a:br>
            <a:endParaRPr lang="en-US" dirty="0" smtClean="0"/>
          </a:p>
          <a:p>
            <a:pPr lvl="1">
              <a:buFont typeface="Wingdings" panose="05000000000000000000" pitchFamily="2" charset="2"/>
              <a:buChar char="q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706726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8351" y="68264"/>
            <a:ext cx="8229600" cy="792162"/>
          </a:xfrm>
        </p:spPr>
        <p:txBody>
          <a:bodyPr/>
          <a:lstStyle/>
          <a:p>
            <a:pPr algn="ctr"/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OVERVIEW OF THE PROJECT</a:t>
            </a:r>
            <a:endParaRPr lang="en-US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9918" y="1447800"/>
            <a:ext cx="8229600" cy="4525963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endParaRPr lang="en-US" sz="20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746796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CTORS</a:t>
            </a:r>
            <a:endParaRPr lang="en-US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762000" y="1752600"/>
            <a:ext cx="75438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3200" dirty="0" smtClean="0"/>
              <a:t>Admi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3200" dirty="0" smtClean="0"/>
              <a:t>Airline-Executiv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3200" dirty="0" smtClean="0"/>
              <a:t>Customer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1598233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400" b="0" dirty="0">
                <a:solidFill>
                  <a:schemeClr val="tx1"/>
                </a:solidFill>
              </a:rPr>
              <a:t>A test case is a set of conditions or variables under which a tester will determine whether a system under test satisfies requirements or works correctly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US" sz="2400" b="0" dirty="0">
                <a:solidFill>
                  <a:schemeClr val="tx1"/>
                </a:solidFill>
              </a:rPr>
              <a:t>The process of developing test cases can also help find problems in the requirements or design of an application.</a:t>
            </a:r>
            <a:endParaRPr lang="en-US" sz="2400" dirty="0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28684" y="152400"/>
            <a:ext cx="8382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EST CASES</a:t>
            </a:r>
            <a:endParaRPr lang="en-US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900475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341193" y="176773"/>
            <a:ext cx="8382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EST CASES</a:t>
            </a:r>
            <a:endParaRPr lang="en-US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73830" y="5382961"/>
            <a:ext cx="7772400" cy="840978"/>
          </a:xfrm>
        </p:spPr>
        <p:txBody>
          <a:bodyPr>
            <a:normAutofit fontScale="90000"/>
          </a:bodyPr>
          <a:lstStyle/>
          <a:p>
            <a:r>
              <a:rPr lang="en-US" sz="2800" dirty="0" smtClean="0"/>
              <a:t>Link : </a:t>
            </a:r>
            <a:r>
              <a:rPr lang="en-US" sz="2800" dirty="0" smtClean="0">
                <a:hlinkClick r:id="rId3" action="ppaction://hlinkfile"/>
              </a:rPr>
              <a:t>C:\Users\ikrithik\Desktop\project\TESTCASE.xlsx</a:t>
            </a:r>
            <a:endParaRPr lang="en-US" sz="2800" b="0" dirty="0"/>
          </a:p>
        </p:txBody>
      </p:sp>
      <p:sp>
        <p:nvSpPr>
          <p:cNvPr id="10" name="Content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/>
              <a:t>  </a:t>
            </a:r>
            <a:endParaRPr lang="en-US" dirty="0"/>
          </a:p>
        </p:txBody>
      </p:sp>
      <p:graphicFrame>
        <p:nvGraphicFramePr>
          <p:cNvPr id="11" name="Diagram 10"/>
          <p:cNvGraphicFramePr/>
          <p:nvPr>
            <p:extLst>
              <p:ext uri="{D42A27DB-BD31-4B8C-83A1-F6EECF244321}">
                <p14:modId xmlns:p14="http://schemas.microsoft.com/office/powerpoint/2010/main" val="3521994120"/>
              </p:ext>
            </p:extLst>
          </p:nvPr>
        </p:nvGraphicFramePr>
        <p:xfrm>
          <a:off x="5005386" y="2276872"/>
          <a:ext cx="3681413" cy="36667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3986212" y="1326759"/>
            <a:ext cx="1828800" cy="369332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IN" dirty="0" smtClean="0"/>
              <a:t>LOGIN</a:t>
            </a:r>
            <a:endParaRPr lang="en-IN" dirty="0"/>
          </a:p>
        </p:txBody>
      </p:sp>
      <p:cxnSp>
        <p:nvCxnSpPr>
          <p:cNvPr id="13" name="Straight Arrow Connector 12"/>
          <p:cNvCxnSpPr>
            <a:stCxn id="12" idx="2"/>
          </p:cNvCxnSpPr>
          <p:nvPr/>
        </p:nvCxnSpPr>
        <p:spPr>
          <a:xfrm flipH="1">
            <a:off x="2286000" y="1696091"/>
            <a:ext cx="2614612" cy="1137480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>
            <a:stCxn id="12" idx="2"/>
            <a:endCxn id="11" idx="0"/>
          </p:cNvCxnSpPr>
          <p:nvPr/>
        </p:nvCxnSpPr>
        <p:spPr>
          <a:xfrm>
            <a:off x="4900612" y="1696091"/>
            <a:ext cx="1945480" cy="580781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5" name="Diagram 14"/>
          <p:cNvGraphicFramePr/>
          <p:nvPr>
            <p:extLst>
              <p:ext uri="{D42A27DB-BD31-4B8C-83A1-F6EECF244321}">
                <p14:modId xmlns:p14="http://schemas.microsoft.com/office/powerpoint/2010/main" val="625097381"/>
              </p:ext>
            </p:extLst>
          </p:nvPr>
        </p:nvGraphicFramePr>
        <p:xfrm>
          <a:off x="977651" y="2445189"/>
          <a:ext cx="3162302" cy="215434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cxnSp>
        <p:nvCxnSpPr>
          <p:cNvPr id="16" name="Straight Arrow Connector 15"/>
          <p:cNvCxnSpPr>
            <a:stCxn id="12" idx="2"/>
            <a:endCxn id="31" idx="0"/>
          </p:cNvCxnSpPr>
          <p:nvPr/>
        </p:nvCxnSpPr>
        <p:spPr>
          <a:xfrm flipH="1">
            <a:off x="4854545" y="1696091"/>
            <a:ext cx="46067" cy="599132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 29"/>
          <p:cNvGrpSpPr/>
          <p:nvPr/>
        </p:nvGrpSpPr>
        <p:grpSpPr>
          <a:xfrm>
            <a:off x="4157097" y="2295223"/>
            <a:ext cx="1397624" cy="989908"/>
            <a:chOff x="1173408" y="-35931"/>
            <a:chExt cx="1397624" cy="989908"/>
          </a:xfrm>
        </p:grpSpPr>
        <p:sp>
          <p:nvSpPr>
            <p:cNvPr id="31" name="Oval 30"/>
            <p:cNvSpPr/>
            <p:nvPr/>
          </p:nvSpPr>
          <p:spPr>
            <a:xfrm>
              <a:off x="1367588" y="-35931"/>
              <a:ext cx="1006535" cy="989908"/>
            </a:xfrm>
            <a:prstGeom prst="ellipse">
              <a:avLst/>
            </a:prstGeom>
          </p:spPr>
          <p:style>
            <a:lnRef idx="3">
              <a:schemeClr val="accent2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1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32" name="Oval 4"/>
            <p:cNvSpPr/>
            <p:nvPr/>
          </p:nvSpPr>
          <p:spPr>
            <a:xfrm>
              <a:off x="1173408" y="70155"/>
              <a:ext cx="1397624" cy="77478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890" tIns="8890" rIns="8890" bIns="8890" numCol="1" spcCol="1270" anchor="ctr" anchorCtr="0">
              <a:noAutofit/>
            </a:bodyPr>
            <a:lstStyle/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IN" sz="1400" kern="1200" dirty="0" smtClean="0"/>
                <a:t>Customer</a:t>
              </a:r>
              <a:endParaRPr lang="en-IN" sz="1400" kern="1200" dirty="0"/>
            </a:p>
          </p:txBody>
        </p:sp>
      </p:grpSp>
      <p:sp>
        <p:nvSpPr>
          <p:cNvPr id="34" name="Rectangle 33"/>
          <p:cNvSpPr/>
          <p:nvPr/>
        </p:nvSpPr>
        <p:spPr>
          <a:xfrm>
            <a:off x="4424363" y="3244334"/>
            <a:ext cx="1847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endParaRPr lang="en-US" dirty="0"/>
          </a:p>
        </p:txBody>
      </p:sp>
      <p:sp>
        <p:nvSpPr>
          <p:cNvPr id="35" name="Left Arrow 34"/>
          <p:cNvSpPr/>
          <p:nvPr/>
        </p:nvSpPr>
        <p:spPr>
          <a:xfrm rot="3538054">
            <a:off x="4952673" y="3410881"/>
            <a:ext cx="874081" cy="331154"/>
          </a:xfrm>
          <a:prstGeom prst="leftArrow">
            <a:avLst>
              <a:gd name="adj1" fmla="val 60000"/>
              <a:gd name="adj2" fmla="val 50000"/>
            </a:avLst>
          </a:prstGeom>
        </p:spPr>
        <p:style>
          <a:lnRef idx="0">
            <a:schemeClr val="accent2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2">
              <a:tint val="60000"/>
              <a:hueOff val="0"/>
              <a:satOff val="0"/>
              <a:lumOff val="0"/>
              <a:alphaOff val="0"/>
            </a:schemeClr>
          </a:fillRef>
          <a:effectRef idx="1">
            <a:schemeClr val="accent2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6" name="Left Arrow 35"/>
          <p:cNvSpPr/>
          <p:nvPr/>
        </p:nvSpPr>
        <p:spPr>
          <a:xfrm rot="7376980">
            <a:off x="3912221" y="3397574"/>
            <a:ext cx="874081" cy="331154"/>
          </a:xfrm>
          <a:prstGeom prst="leftArrow">
            <a:avLst>
              <a:gd name="adj1" fmla="val 60000"/>
              <a:gd name="adj2" fmla="val 50000"/>
            </a:avLst>
          </a:prstGeom>
        </p:spPr>
        <p:style>
          <a:lnRef idx="0">
            <a:schemeClr val="accent2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2">
              <a:tint val="60000"/>
              <a:hueOff val="0"/>
              <a:satOff val="0"/>
              <a:lumOff val="0"/>
              <a:alphaOff val="0"/>
            </a:schemeClr>
          </a:fillRef>
          <a:effectRef idx="1">
            <a:schemeClr val="accent2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grpSp>
        <p:nvGrpSpPr>
          <p:cNvPr id="40" name="Group 39"/>
          <p:cNvGrpSpPr/>
          <p:nvPr/>
        </p:nvGrpSpPr>
        <p:grpSpPr>
          <a:xfrm>
            <a:off x="4946889" y="3730640"/>
            <a:ext cx="1162121" cy="935836"/>
            <a:chOff x="2076797" y="2172098"/>
            <a:chExt cx="1162121" cy="935836"/>
          </a:xfrm>
        </p:grpSpPr>
        <p:sp>
          <p:nvSpPr>
            <p:cNvPr id="41" name="Rounded Rectangle 40"/>
            <p:cNvSpPr/>
            <p:nvPr/>
          </p:nvSpPr>
          <p:spPr>
            <a:xfrm>
              <a:off x="2076797" y="2224856"/>
              <a:ext cx="1103848" cy="883078"/>
            </a:xfrm>
            <a:prstGeom prst="roundRect">
              <a:avLst>
                <a:gd name="adj" fmla="val 10000"/>
              </a:avLst>
            </a:prstGeom>
          </p:spPr>
          <p:style>
            <a:lnRef idx="3">
              <a:schemeClr val="accent2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1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42" name="Rounded Rectangle 4"/>
            <p:cNvSpPr/>
            <p:nvPr/>
          </p:nvSpPr>
          <p:spPr>
            <a:xfrm>
              <a:off x="2186798" y="2172098"/>
              <a:ext cx="1052120" cy="86889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0480" tIns="30480" rIns="30480" bIns="30480" numCol="1" spcCol="1270" anchor="ctr" anchorCtr="0">
              <a:noAutofit/>
            </a:bodyPr>
            <a:lstStyle/>
            <a:p>
              <a:pPr lvl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IN" sz="1600" kern="1200" dirty="0" smtClean="0"/>
                <a:t>Book flight</a:t>
              </a:r>
              <a:endParaRPr lang="en-IN" sz="1600" kern="1200" dirty="0"/>
            </a:p>
          </p:txBody>
        </p:sp>
      </p:grpSp>
      <p:grpSp>
        <p:nvGrpSpPr>
          <p:cNvPr id="43" name="Group 42"/>
          <p:cNvGrpSpPr/>
          <p:nvPr/>
        </p:nvGrpSpPr>
        <p:grpSpPr>
          <a:xfrm>
            <a:off x="3555440" y="3794665"/>
            <a:ext cx="1132985" cy="883078"/>
            <a:chOff x="556901" y="1901760"/>
            <a:chExt cx="1132985" cy="883078"/>
          </a:xfrm>
        </p:grpSpPr>
        <p:sp>
          <p:nvSpPr>
            <p:cNvPr id="44" name="Rounded Rectangle 43"/>
            <p:cNvSpPr/>
            <p:nvPr/>
          </p:nvSpPr>
          <p:spPr>
            <a:xfrm>
              <a:off x="556901" y="1901760"/>
              <a:ext cx="1103848" cy="883078"/>
            </a:xfrm>
            <a:prstGeom prst="roundRect">
              <a:avLst>
                <a:gd name="adj" fmla="val 10000"/>
              </a:avLst>
            </a:prstGeom>
          </p:spPr>
          <p:style>
            <a:lnRef idx="3">
              <a:schemeClr val="accent2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1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45" name="Rounded Rectangle 4"/>
            <p:cNvSpPr/>
            <p:nvPr/>
          </p:nvSpPr>
          <p:spPr>
            <a:xfrm>
              <a:off x="637766" y="1913029"/>
              <a:ext cx="1052120" cy="83135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0480" tIns="30480" rIns="30480" bIns="30480" numCol="1" spcCol="1270" anchor="ctr" anchorCtr="0">
              <a:noAutofit/>
            </a:bodyPr>
            <a:lstStyle/>
            <a:p>
              <a:pPr lvl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IN" sz="1600" kern="1200" dirty="0" smtClean="0"/>
                <a:t>View  flights</a:t>
              </a:r>
              <a:endParaRPr lang="en-IN" sz="1600" kern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3242609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792162"/>
          </a:xfrm>
        </p:spPr>
        <p:txBody>
          <a:bodyPr>
            <a:normAutofit/>
          </a:bodyPr>
          <a:lstStyle/>
          <a:p>
            <a:pPr algn="ctr"/>
            <a:r>
              <a:rPr 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EQUIREMENT  ITEMIZATION</a:t>
            </a:r>
            <a:endParaRPr lang="en-US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400" b="0" dirty="0" smtClean="0">
                <a:solidFill>
                  <a:schemeClr val="tx1"/>
                </a:solidFill>
              </a:rPr>
              <a:t>Requirements </a:t>
            </a:r>
            <a:r>
              <a:rPr lang="en-US" sz="2400" b="0" dirty="0">
                <a:solidFill>
                  <a:schemeClr val="tx1"/>
                </a:solidFill>
              </a:rPr>
              <a:t>validation is an iterative process which takes place throughout the lifecycle of the project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US" sz="2400" b="0" dirty="0">
                <a:solidFill>
                  <a:schemeClr val="tx1"/>
                </a:solidFill>
              </a:rPr>
              <a:t>During elicitation, analysis and specification you should constantly be questioning and clarifying the data given to you in order to check its validity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US" sz="2400" b="0" dirty="0">
                <a:solidFill>
                  <a:schemeClr val="tx1"/>
                </a:solidFill>
              </a:rPr>
              <a:t>This will ensure that the SRS that you produce is complete, consistent </a:t>
            </a:r>
            <a:r>
              <a:rPr lang="en-US" sz="2400" b="0" dirty="0" smtClean="0">
                <a:solidFill>
                  <a:schemeClr val="tx1"/>
                </a:solidFill>
              </a:rPr>
              <a:t>and </a:t>
            </a:r>
            <a:r>
              <a:rPr lang="en-US" sz="2400" b="0" dirty="0">
                <a:solidFill>
                  <a:schemeClr val="tx1"/>
                </a:solidFill>
              </a:rPr>
              <a:t>ready for the formal validation process. </a:t>
            </a:r>
            <a:endParaRPr lang="en-US" sz="2400" b="0" dirty="0" smtClean="0">
              <a:solidFill>
                <a:schemeClr val="tx1"/>
              </a:solidFill>
            </a:endParaRPr>
          </a:p>
          <a:p>
            <a:endParaRPr lang="en-US" sz="2400" b="0" dirty="0">
              <a:solidFill>
                <a:schemeClr val="tx1"/>
              </a:solidFill>
              <a:latin typeface="Bookman Old Style" panose="02050604050505020204" pitchFamily="18" charset="0"/>
            </a:endParaRPr>
          </a:p>
          <a:p>
            <a:endParaRPr lang="en-US" sz="2400" b="0" dirty="0" smtClean="0">
              <a:solidFill>
                <a:schemeClr val="tx1"/>
              </a:solidFill>
              <a:latin typeface="Bookman Old Style" panose="02050604050505020204" pitchFamily="18" charset="0"/>
            </a:endParaRPr>
          </a:p>
          <a:p>
            <a:pPr marL="0" indent="0">
              <a:buNone/>
            </a:pPr>
            <a:r>
              <a:rPr lang="en-US" sz="2400" dirty="0" smtClean="0">
                <a:solidFill>
                  <a:schemeClr val="tx1"/>
                </a:solidFill>
                <a:latin typeface="Bookman Old Style" panose="02050604050505020204" pitchFamily="18" charset="0"/>
              </a:rPr>
              <a:t>LINK: </a:t>
            </a:r>
            <a:r>
              <a:rPr lang="en-US" sz="2400" dirty="0" smtClean="0">
                <a:solidFill>
                  <a:schemeClr val="tx1"/>
                </a:solidFill>
                <a:latin typeface="Bookman Old Style" panose="02050604050505020204" pitchFamily="18" charset="0"/>
                <a:hlinkClick r:id="rId2" action="ppaction://hlinkfile"/>
              </a:rPr>
              <a:t>C:\Users\ikrithik\Desktop\project\RVFD.xlsx</a:t>
            </a:r>
            <a:endParaRPr lang="en-US" sz="2400" b="0" dirty="0">
              <a:solidFill>
                <a:schemeClr val="tx1"/>
              </a:solidFill>
              <a:latin typeface="Bookman Old Style" panose="0205060405050502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153556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/>
          <p:cNvSpPr txBox="1"/>
          <p:nvPr/>
        </p:nvSpPr>
        <p:spPr>
          <a:xfrm>
            <a:off x="638948" y="362977"/>
            <a:ext cx="80185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equirements Validation And Functional Decomposition</a:t>
            </a:r>
            <a:endParaRPr lang="en-IN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3869207828"/>
              </p:ext>
            </p:extLst>
          </p:nvPr>
        </p:nvGraphicFramePr>
        <p:xfrm>
          <a:off x="4648200" y="1066799"/>
          <a:ext cx="1905000" cy="124584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431537518"/>
              </p:ext>
            </p:extLst>
          </p:nvPr>
        </p:nvGraphicFramePr>
        <p:xfrm>
          <a:off x="762000" y="4953000"/>
          <a:ext cx="2209800" cy="152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1552712535"/>
              </p:ext>
            </p:extLst>
          </p:nvPr>
        </p:nvGraphicFramePr>
        <p:xfrm>
          <a:off x="3581400" y="5105400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416433548"/>
              </p:ext>
            </p:extLst>
          </p:nvPr>
        </p:nvGraphicFramePr>
        <p:xfrm>
          <a:off x="304800" y="3521122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8" r:lo="rId19" r:qs="rId20" r:cs="rId21"/>
          </a:graphicData>
        </a:graphic>
      </p:graphicFrame>
      <p:graphicFrame>
        <p:nvGraphicFramePr>
          <p:cNvPr id="8" name="Diagram 7"/>
          <p:cNvGraphicFramePr/>
          <p:nvPr>
            <p:extLst>
              <p:ext uri="{D42A27DB-BD31-4B8C-83A1-F6EECF244321}">
                <p14:modId xmlns:p14="http://schemas.microsoft.com/office/powerpoint/2010/main" val="3249288730"/>
              </p:ext>
            </p:extLst>
          </p:nvPr>
        </p:nvGraphicFramePr>
        <p:xfrm>
          <a:off x="304800" y="2111422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3" r:lo="rId24" r:qs="rId25" r:cs="rId26"/>
          </a:graphicData>
        </a:graphic>
      </p:graphicFrame>
      <p:graphicFrame>
        <p:nvGraphicFramePr>
          <p:cNvPr id="9" name="Diagram 8"/>
          <p:cNvGraphicFramePr/>
          <p:nvPr>
            <p:extLst>
              <p:ext uri="{D42A27DB-BD31-4B8C-83A1-F6EECF244321}">
                <p14:modId xmlns:p14="http://schemas.microsoft.com/office/powerpoint/2010/main" val="3444857622"/>
              </p:ext>
            </p:extLst>
          </p:nvPr>
        </p:nvGraphicFramePr>
        <p:xfrm>
          <a:off x="2400300" y="1066800"/>
          <a:ext cx="1905000" cy="1066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8" r:lo="rId29" r:qs="rId30" r:cs="rId31"/>
          </a:graphicData>
        </a:graphic>
      </p:graphicFrame>
      <p:graphicFrame>
        <p:nvGraphicFramePr>
          <p:cNvPr id="10" name="Diagram 9"/>
          <p:cNvGraphicFramePr/>
          <p:nvPr>
            <p:extLst>
              <p:ext uri="{D42A27DB-BD31-4B8C-83A1-F6EECF244321}">
                <p14:modId xmlns:p14="http://schemas.microsoft.com/office/powerpoint/2010/main" val="1684257087"/>
              </p:ext>
            </p:extLst>
          </p:nvPr>
        </p:nvGraphicFramePr>
        <p:xfrm>
          <a:off x="6858000" y="2111422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3" r:lo="rId34" r:qs="rId35" r:cs="rId36"/>
          </a:graphicData>
        </a:graphic>
      </p:graphicFrame>
      <p:graphicFrame>
        <p:nvGraphicFramePr>
          <p:cNvPr id="11" name="Diagram 10"/>
          <p:cNvGraphicFramePr/>
          <p:nvPr>
            <p:extLst>
              <p:ext uri="{D42A27DB-BD31-4B8C-83A1-F6EECF244321}">
                <p14:modId xmlns:p14="http://schemas.microsoft.com/office/powerpoint/2010/main" val="3619113940"/>
              </p:ext>
            </p:extLst>
          </p:nvPr>
        </p:nvGraphicFramePr>
        <p:xfrm>
          <a:off x="6858000" y="3439235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8" r:lo="rId39" r:qs="rId40" r:cs="rId41"/>
          </a:graphicData>
        </a:graphic>
      </p:graphicFrame>
      <p:graphicFrame>
        <p:nvGraphicFramePr>
          <p:cNvPr id="12" name="Diagram 11"/>
          <p:cNvGraphicFramePr/>
          <p:nvPr>
            <p:extLst>
              <p:ext uri="{D42A27DB-BD31-4B8C-83A1-F6EECF244321}">
                <p14:modId xmlns:p14="http://schemas.microsoft.com/office/powerpoint/2010/main" val="2164186853"/>
              </p:ext>
            </p:extLst>
          </p:nvPr>
        </p:nvGraphicFramePr>
        <p:xfrm>
          <a:off x="6248400" y="5105400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3" r:lo="rId44" r:qs="rId45" r:cs="rId46"/>
          </a:graphicData>
        </a:graphic>
      </p:graphicFrame>
      <p:sp>
        <p:nvSpPr>
          <p:cNvPr id="14" name="Oval 13"/>
          <p:cNvSpPr/>
          <p:nvPr/>
        </p:nvSpPr>
        <p:spPr>
          <a:xfrm>
            <a:off x="3599597" y="2655058"/>
            <a:ext cx="1447800" cy="1524000"/>
          </a:xfrm>
          <a:prstGeom prst="ellipse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VFD</a:t>
            </a:r>
          </a:p>
        </p:txBody>
      </p:sp>
      <p:cxnSp>
        <p:nvCxnSpPr>
          <p:cNvPr id="29" name="Straight Arrow Connector 28"/>
          <p:cNvCxnSpPr/>
          <p:nvPr/>
        </p:nvCxnSpPr>
        <p:spPr>
          <a:xfrm flipV="1">
            <a:off x="4518334" y="2017594"/>
            <a:ext cx="240469" cy="74152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1" name="Straight Arrow Connector 30"/>
          <p:cNvCxnSpPr/>
          <p:nvPr/>
        </p:nvCxnSpPr>
        <p:spPr>
          <a:xfrm flipV="1">
            <a:off x="4933097" y="2523220"/>
            <a:ext cx="1313597" cy="49098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>
            <a:stCxn id="14" idx="6"/>
          </p:cNvCxnSpPr>
          <p:nvPr/>
        </p:nvCxnSpPr>
        <p:spPr>
          <a:xfrm>
            <a:off x="5047397" y="3417058"/>
            <a:ext cx="1714500" cy="10406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4938073" y="3796442"/>
            <a:ext cx="1310327" cy="102008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>
            <a:stCxn id="14" idx="4"/>
          </p:cNvCxnSpPr>
          <p:nvPr/>
        </p:nvCxnSpPr>
        <p:spPr>
          <a:xfrm>
            <a:off x="4323497" y="4179058"/>
            <a:ext cx="0" cy="92634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9" name="Straight Arrow Connector 38"/>
          <p:cNvCxnSpPr/>
          <p:nvPr/>
        </p:nvCxnSpPr>
        <p:spPr>
          <a:xfrm flipH="1">
            <a:off x="2684380" y="4023815"/>
            <a:ext cx="1184441" cy="10184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2" name="Straight Arrow Connector 41"/>
          <p:cNvCxnSpPr/>
          <p:nvPr/>
        </p:nvCxnSpPr>
        <p:spPr>
          <a:xfrm flipH="1">
            <a:off x="2271109" y="3521122"/>
            <a:ext cx="1310291" cy="27532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4" name="Straight Arrow Connector 43"/>
          <p:cNvCxnSpPr/>
          <p:nvPr/>
        </p:nvCxnSpPr>
        <p:spPr>
          <a:xfrm flipH="1" flipV="1">
            <a:off x="2400301" y="2655059"/>
            <a:ext cx="1266398" cy="43345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6" name="Straight Arrow Connector 45"/>
          <p:cNvCxnSpPr/>
          <p:nvPr/>
        </p:nvCxnSpPr>
        <p:spPr>
          <a:xfrm flipH="1" flipV="1">
            <a:off x="3647650" y="2178808"/>
            <a:ext cx="372753" cy="5372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4702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Executive">
  <a:themeElements>
    <a:clrScheme name="Executive">
      <a:dk1>
        <a:sysClr val="windowText" lastClr="000000"/>
      </a:dk1>
      <a:lt1>
        <a:sysClr val="window" lastClr="FFFFFF"/>
      </a:lt1>
      <a:dk2>
        <a:srgbClr val="2F5897"/>
      </a:dk2>
      <a:lt2>
        <a:srgbClr val="E4E9EF"/>
      </a:lt2>
      <a:accent1>
        <a:srgbClr val="6076B4"/>
      </a:accent1>
      <a:accent2>
        <a:srgbClr val="9C5252"/>
      </a:accent2>
      <a:accent3>
        <a:srgbClr val="E68422"/>
      </a:accent3>
      <a:accent4>
        <a:srgbClr val="846648"/>
      </a:accent4>
      <a:accent5>
        <a:srgbClr val="63891F"/>
      </a:accent5>
      <a:accent6>
        <a:srgbClr val="758085"/>
      </a:accent6>
      <a:hlink>
        <a:srgbClr val="3399FF"/>
      </a:hlink>
      <a:folHlink>
        <a:srgbClr val="B2B2B2"/>
      </a:folHlink>
    </a:clrScheme>
    <a:fontScheme name="Executive">
      <a:majorFont>
        <a:latin typeface="Century Gothic"/>
        <a:ea typeface=""/>
        <a:cs typeface=""/>
        <a:font script="Jpan" typeface="HGｺﾞｼｯｸM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Palatino Linotype"/>
        <a:ea typeface=""/>
        <a:cs typeface=""/>
        <a:font script="Jpan" typeface="HGS明朝E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Executiv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0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50000">
              <a:schemeClr val="phClr">
                <a:tint val="80000"/>
                <a:satMod val="250000"/>
              </a:schemeClr>
            </a:gs>
            <a:gs pos="76000">
              <a:schemeClr val="phClr">
                <a:tint val="90000"/>
                <a:shade val="90000"/>
                <a:satMod val="200000"/>
              </a:schemeClr>
            </a:gs>
            <a:gs pos="92000">
              <a:schemeClr val="phClr">
                <a:tint val="90000"/>
                <a:shade val="70000"/>
                <a:satMod val="250000"/>
              </a:schemeClr>
            </a:gs>
          </a:gsLst>
          <a:path path="circle">
            <a:fillToRect l="50000" t="50000" r="50000" b="50000"/>
          </a:path>
        </a:gradFill>
        <a:blipFill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975</TotalTime>
  <Words>671</Words>
  <Application>Microsoft Office PowerPoint</Application>
  <PresentationFormat>On-screen Show (4:3)</PresentationFormat>
  <Paragraphs>148</Paragraphs>
  <Slides>24</Slides>
  <Notes>5</Notes>
  <HiddenSlides>0</HiddenSlides>
  <MMClips>0</MMClips>
  <ScaleCrop>false</ScaleCrop>
  <HeadingPairs>
    <vt:vector size="6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24</vt:i4>
      </vt:variant>
    </vt:vector>
  </HeadingPairs>
  <TitlesOfParts>
    <vt:vector size="36" baseType="lpstr">
      <vt:lpstr>ＭＳ Ｐゴシック</vt:lpstr>
      <vt:lpstr>Arial</vt:lpstr>
      <vt:lpstr>Bookman Old Style</vt:lpstr>
      <vt:lpstr>Calibri</vt:lpstr>
      <vt:lpstr>Candara</vt:lpstr>
      <vt:lpstr>Century Gothic</vt:lpstr>
      <vt:lpstr>Courier New</vt:lpstr>
      <vt:lpstr>Palatino Linotype</vt:lpstr>
      <vt:lpstr>Times New Roman</vt:lpstr>
      <vt:lpstr>Wingdings</vt:lpstr>
      <vt:lpstr>Executive</vt:lpstr>
      <vt:lpstr>Office Theme</vt:lpstr>
      <vt:lpstr>PowerPoint Presentation</vt:lpstr>
      <vt:lpstr>TEAM MEMBERS</vt:lpstr>
      <vt:lpstr>CONTENTS</vt:lpstr>
      <vt:lpstr>OVERVIEW OF THE PROJECT</vt:lpstr>
      <vt:lpstr>ACTORS</vt:lpstr>
      <vt:lpstr>PowerPoint Presentation</vt:lpstr>
      <vt:lpstr>Link : C:\Users\ikrithik\Desktop\project\TESTCASE.xlsx</vt:lpstr>
      <vt:lpstr>REQUIREMENT  ITEMIZATION</vt:lpstr>
      <vt:lpstr>PowerPoint Presentation</vt:lpstr>
      <vt:lpstr>USE CASES</vt:lpstr>
      <vt:lpstr>USE CASES</vt:lpstr>
      <vt:lpstr>USE CASE DIAGRAM</vt:lpstr>
      <vt:lpstr>USE CASE DIAGRAM</vt:lpstr>
      <vt:lpstr>USE CASE HYPERLINKS</vt:lpstr>
      <vt:lpstr>DFDR</vt:lpstr>
      <vt:lpstr>DEFECTS FOUND</vt:lpstr>
      <vt:lpstr>DEFECTS FOUND</vt:lpstr>
      <vt:lpstr>DEFECTS FOUND</vt:lpstr>
      <vt:lpstr>PowerPoint Presentation</vt:lpstr>
      <vt:lpstr>Test Case Adequacy </vt:lpstr>
      <vt:lpstr>Test Case Effectiveness</vt:lpstr>
      <vt:lpstr>Project Statistics</vt:lpstr>
      <vt:lpstr>Traceability Matrix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IVERSITY ADMISSION SYSTEM</dc:title>
  <dc:creator>Training LAB1</dc:creator>
  <cp:lastModifiedBy>Bobbili, Sri Vani</cp:lastModifiedBy>
  <cp:revision>175</cp:revision>
  <dcterms:created xsi:type="dcterms:W3CDTF">2015-08-27T08:52:20Z</dcterms:created>
  <dcterms:modified xsi:type="dcterms:W3CDTF">2018-07-21T11:54:45Z</dcterms:modified>
</cp:coreProperties>
</file>